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theme/theme2.xml" ContentType="application/vnd.openxmlformats-officedocument.theme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theme/theme3.xml" ContentType="application/vnd.openxmlformats-officedocument.theme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theme/theme4.xml" ContentType="application/vnd.openxmlformats-officedocument.theme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6" r:id="rId4"/>
    <p:sldMasterId id="2147485753" r:id="rId5"/>
    <p:sldMasterId id="2147488242" r:id="rId6"/>
    <p:sldMasterId id="2147488255" r:id="rId7"/>
    <p:sldMasterId id="2147488267" r:id="rId8"/>
  </p:sldMasterIdLst>
  <p:notesMasterIdLst>
    <p:notesMasterId r:id="rId62"/>
  </p:notesMasterIdLst>
  <p:sldIdLst>
    <p:sldId id="280" r:id="rId9"/>
    <p:sldId id="283" r:id="rId10"/>
    <p:sldId id="850" r:id="rId11"/>
    <p:sldId id="1109" r:id="rId12"/>
    <p:sldId id="1099" r:id="rId13"/>
    <p:sldId id="1100" r:id="rId14"/>
    <p:sldId id="273" r:id="rId15"/>
    <p:sldId id="1101" r:id="rId16"/>
    <p:sldId id="1102" r:id="rId17"/>
    <p:sldId id="1111" r:id="rId18"/>
    <p:sldId id="1112" r:id="rId19"/>
    <p:sldId id="1113" r:id="rId20"/>
    <p:sldId id="1115" r:id="rId21"/>
    <p:sldId id="880" r:id="rId22"/>
    <p:sldId id="556" r:id="rId23"/>
    <p:sldId id="870" r:id="rId24"/>
    <p:sldId id="257" r:id="rId25"/>
    <p:sldId id="258" r:id="rId26"/>
    <p:sldId id="259" r:id="rId27"/>
    <p:sldId id="260" r:id="rId28"/>
    <p:sldId id="261" r:id="rId29"/>
    <p:sldId id="1104" r:id="rId30"/>
    <p:sldId id="1105" r:id="rId31"/>
    <p:sldId id="1107" r:id="rId32"/>
    <p:sldId id="1108" r:id="rId33"/>
    <p:sldId id="879" r:id="rId34"/>
    <p:sldId id="873" r:id="rId35"/>
    <p:sldId id="871" r:id="rId36"/>
    <p:sldId id="882" r:id="rId37"/>
    <p:sldId id="874" r:id="rId38"/>
    <p:sldId id="878" r:id="rId39"/>
    <p:sldId id="875" r:id="rId40"/>
    <p:sldId id="877" r:id="rId41"/>
    <p:sldId id="881" r:id="rId42"/>
    <p:sldId id="876" r:id="rId43"/>
    <p:sldId id="851" r:id="rId44"/>
    <p:sldId id="264" r:id="rId45"/>
    <p:sldId id="266" r:id="rId46"/>
    <p:sldId id="267" r:id="rId47"/>
    <p:sldId id="274" r:id="rId48"/>
    <p:sldId id="268" r:id="rId49"/>
    <p:sldId id="265" r:id="rId50"/>
    <p:sldId id="272" r:id="rId51"/>
    <p:sldId id="277" r:id="rId52"/>
    <p:sldId id="276" r:id="rId53"/>
    <p:sldId id="269" r:id="rId54"/>
    <p:sldId id="271" r:id="rId55"/>
    <p:sldId id="270" r:id="rId56"/>
    <p:sldId id="849" r:id="rId57"/>
    <p:sldId id="1110" r:id="rId58"/>
    <p:sldId id="300" r:id="rId59"/>
    <p:sldId id="883" r:id="rId60"/>
    <p:sldId id="845" r:id="rId6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0B48CC40-4357-5959-C41E-8F630855A478}" name="Aleena Lida Surenian" initials="AS" userId="S::als0813@ads.northwestern.edu::e2fd0e4e-6417-49b0-ab16-0ba26a1719f0" providerId="AD"/>
  <p188:author id="{B1E8E1CE-C373-4BDB-0D3F-F84FE1DA86D4}" name="Eileen Fleming Suse" initials="ES" userId="S::efs3844@ads.northwestern.edu::725c94ef-d051-42d7-9d33-8572765d59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ECEF"/>
    <a:srgbClr val="8AE3A9"/>
    <a:srgbClr val="56D683"/>
    <a:srgbClr val="FE6D73"/>
    <a:srgbClr val="49CFAF"/>
    <a:srgbClr val="FFCB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421A07-4C07-369B-097F-A81A49978E45}" v="122" dt="2025-02-07T23:44:56.999"/>
    <p1510:client id="{54892F81-A6AA-7606-3379-FB59402E7752}" v="2695" dt="2025-02-08T02:10:04.1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1348"/>
    <p:restoredTop sz="80198"/>
  </p:normalViewPr>
  <p:slideViewPr>
    <p:cSldViewPr snapToGrid="0">
      <p:cViewPr varScale="1">
        <p:scale>
          <a:sx n="82" d="100"/>
          <a:sy n="82" d="100"/>
        </p:scale>
        <p:origin x="59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63" Type="http://schemas.openxmlformats.org/officeDocument/2006/relationships/presProps" Target="presProps.xml"/><Relationship Id="rId68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3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microsoft.com/office/2015/10/relationships/revisionInfo" Target="revisionInfo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70608D-03E6-4E16-A007-9C8759E298F3}" type="datetimeFigureOut">
              <a:rPr lang="en-US"/>
              <a:t>2/1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56CA2D-DEC8-4DCF-B290-1C0640AFF2DE}" type="slidenum">
              <a:r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496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>
              <a:cs typeface="Calibri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2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2733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311AD0-35BB-3EC5-A7F3-AEAD8D8F08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597234B6-72CD-4FFD-56DD-E6F671CB456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E5796481-9397-22FD-29CB-FFBD1239D9C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cs typeface="Calibri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263716AC-1DC7-CAE7-22F4-A3E063FA63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22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9705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76BABA-D1D1-5A39-1290-666B2B8D49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001A7D53-1FE5-BFAE-BADF-B11D1D2FA88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B38CFCB1-CBD8-808A-5C8E-8155C931B3C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cs typeface="Calibri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D3CD81F3-B7B2-B711-40D9-E6D31D34C8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23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19425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4359F0-6F84-B886-1AE3-D2B17E0D42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609DD018-EA63-40AF-1F6A-A9C0BFFD1B1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A425255A-F7F1-EC40-E293-C11B2AF0094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cs typeface="Calibri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2D266A1F-6548-A4A0-6373-BC633FDF59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24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99937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3762AB-7256-F720-FE7D-AE5570767C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18409A3F-DE13-3C62-DE11-56D39A13044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CEDBB49E-A6D5-FBA1-2FB7-27BBA240C80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cs typeface="Calibri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7736227B-D054-7484-F221-494C421BC8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25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69332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41220C-D67E-3041-9DDF-F3EAA3F595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4D3F145D-96BC-4DE9-4F88-EDAB9619C8B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A7CF3235-5F9B-92AB-0208-65EC2BF6FF7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>
              <a:cs typeface="Calibri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3D63F1EF-5E6F-A74B-6D6F-01D5EAFFFF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27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97925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98F151-3767-3323-1006-FD12060702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720B9B69-0397-6C68-7D10-57A197962DB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46815ED5-2CFD-3A8D-AD58-851624BD134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>
              <a:cs typeface="Calibri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00FA0EAE-19DB-475D-6CDD-DA18796BA0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28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39760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C87449-6040-659F-BCE9-66D2199A4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0A783CCA-A269-34ED-0AD0-21792C4E0AD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B0EC5D8D-22A6-8CFD-9CDA-BEC52DED9B7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>
              <a:cs typeface="Calibri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9FA2C271-8D0B-A526-E3EA-37A1B7EBB8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29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02576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1DE428-7047-3CAF-6BF4-F8F55028D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65B87B55-3BDC-0AB5-7175-3728D406E00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0A41305B-93C9-A6CD-EA4B-08FAB17901B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>
              <a:cs typeface="Calibri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07DAC70B-35D8-E87E-2937-0837ADAF12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30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420931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850510-1EEF-9085-3A10-7C0C268A25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263EB4E3-E209-1947-1CEE-12A60816A4EB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6309EEA6-3801-239F-6665-57DE5D91C24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cs typeface="Calibri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BA6E6568-2A17-39A1-BA82-5603057ABB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31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7331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>
          <a:extLst>
            <a:ext uri="{FF2B5EF4-FFF2-40B4-BE49-F238E27FC236}">
              <a16:creationId xmlns:a16="http://schemas.microsoft.com/office/drawing/2014/main" id="{BED36A51-1F44-36D0-65F3-C4D21724AE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16:notes">
            <a:extLst>
              <a:ext uri="{FF2B5EF4-FFF2-40B4-BE49-F238E27FC236}">
                <a16:creationId xmlns:a16="http://schemas.microsoft.com/office/drawing/2014/main" id="{A5C9F08A-E04A-CE82-A677-2CE9FB3E5FC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16:notes">
            <a:extLst>
              <a:ext uri="{FF2B5EF4-FFF2-40B4-BE49-F238E27FC236}">
                <a16:creationId xmlns:a16="http://schemas.microsoft.com/office/drawing/2014/main" id="{6F8E0094-AF46-DF2A-CAE0-46CCDDFCE8D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6" name="Google Shape;366;p16:notes">
            <a:extLst>
              <a:ext uri="{FF2B5EF4-FFF2-40B4-BE49-F238E27FC236}">
                <a16:creationId xmlns:a16="http://schemas.microsoft.com/office/drawing/2014/main" id="{20009995-C200-4D5D-6702-1C39BF49A9E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662285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E8CEFB-480E-E4BF-EF4C-EA380E5766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09EDF40E-0D1A-870F-5581-920BB53E18BB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9FBF6793-74D9-7FC2-DDA7-092B666AEE8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cs typeface="Calibri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6E5FFC94-8DB6-5CBF-B5AD-83A8777E79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32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01977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5A334A-3EDF-9D90-9E6C-EE88A31B7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C958CBA9-0183-847B-6878-70E30E23651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FFE3E2B9-A5FA-823C-62CA-AC7F0D534D5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>
              <a:cs typeface="Calibri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D644E6E2-C573-7F63-1A43-C58975A2DE8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33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4281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B2042F-EBBB-C53D-1725-BD511C7A5A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34934773-D8B5-5D84-8764-66B49403214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626C0E41-1D5E-9D62-3488-26E7AF35D9D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>
              <a:cs typeface="Calibri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E6AD0658-80AB-0F16-14F0-D5925F2F4E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34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57968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B6118-AEFC-47BE-91DF-C2724FC1C9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03659B-EE7E-8C34-6D1D-73CB901C56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85B0978-D7E7-E0C1-F3EB-D5721530D0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D609C0-E1CD-F17C-CDCB-6597722A0F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7307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50365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0B010-FF72-F22C-89F5-6F969D895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BDAC9-7258-171C-50F1-43D1301BBF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B4A6D2-AE17-E5D3-89D8-CFCA2DF125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F5BFF-47B7-6110-D5DA-510AAD240A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772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5048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1AE677-2EB8-4A03-8216-9177FD65B24F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62272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3395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1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1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1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1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emf"/><Relationship Id="rId2" Type="http://schemas.openxmlformats.org/officeDocument/2006/relationships/image" Target="../media/image69.emf"/><Relationship Id="rId1" Type="http://schemas.openxmlformats.org/officeDocument/2006/relationships/slideMaster" Target="../slideMasters/slideMaster5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emf"/><Relationship Id="rId1" Type="http://schemas.openxmlformats.org/officeDocument/2006/relationships/slideMaster" Target="../slideMasters/slideMaster5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emf"/><Relationship Id="rId2" Type="http://schemas.openxmlformats.org/officeDocument/2006/relationships/image" Target="../media/image69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sv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svg"/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8.svg"/><Relationship Id="rId4" Type="http://schemas.openxmlformats.org/officeDocument/2006/relationships/image" Target="../media/image77.pn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7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2/17/2025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2/17/2025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7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7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7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2/17/2025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2/17/2025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7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7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7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7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9341557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37509308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278566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689331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19053655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71456659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572297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62386673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568294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13826847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937025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754994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C7A07-96C3-42AF-943D-953C86C3DA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90472" y="1463557"/>
            <a:ext cx="9144000" cy="2387600"/>
          </a:xfrm>
        </p:spPr>
        <p:txBody>
          <a:bodyPr anchor="b">
            <a:normAutofit/>
          </a:bodyPr>
          <a:lstStyle>
            <a:lvl1pPr algn="ctr">
              <a:lnSpc>
                <a:spcPct val="90000"/>
              </a:lnSpc>
              <a:defRPr sz="5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EE38DF-F503-4E79-B1B0-16489708A1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90472" y="3943232"/>
            <a:ext cx="9144000" cy="1655762"/>
          </a:xfrm>
        </p:spPr>
        <p:txBody>
          <a:bodyPr>
            <a:normAutofit/>
          </a:bodyPr>
          <a:lstStyle>
            <a:lvl1pPr marL="0" indent="0" algn="ctr">
              <a:lnSpc>
                <a:spcPct val="110000"/>
              </a:lnSpc>
              <a:buNone/>
              <a:defRPr sz="24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46538D75-00C2-DE73-4C65-FE94AC658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50B8E-A176-49F2-A3C1-FEDA0200170B}" type="datetime2">
              <a:rPr lang="en-US" smtClean="0"/>
              <a:t>Monday, February 17, 2025</a:t>
            </a:fld>
            <a:endParaRPr lang="en-US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B601B81-68C1-B63A-105C-EC637DF56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E9F3E495-0415-392A-9A07-34555BBC7F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E69E03-4804-4553-A1EC-F089884EF5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705008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914413-82C1-4EBC-8C6B-BC5F842D1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lnSpc>
                <a:spcPct val="90000"/>
              </a:lnSpc>
              <a:defRPr sz="5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8F029A-192E-4A44-ACC7-6C5212C777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24" y="1825625"/>
            <a:ext cx="10515600" cy="4206383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A25CBB87-BE9B-82CE-8A24-F21EEA036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97BA6-BEF8-495F-ACCD-8D19769E4FC6}" type="datetime2">
              <a:rPr lang="en-US" smtClean="0"/>
              <a:t>Monday, February 17, 2025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2131628-C033-9728-C4CF-90CDBCB89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67216CA-9A26-BBE7-68A3-9237D22CDF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E69E03-4804-4553-A1EC-F089884EF5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12937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CAF4BC-D1E9-40F0-A26B-9EA9B6B69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1081941"/>
            <a:ext cx="10515600" cy="2852737"/>
          </a:xfrm>
        </p:spPr>
        <p:txBody>
          <a:bodyPr anchor="b"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7974A6-FAB9-47DA-8F1A-701DFC8DF3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0624" y="3961666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6B034DD9-4A61-318F-88CF-79721B55AC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57292D-4609-4E55-92E3-C12C6A1234E8}" type="datetime2">
              <a:rPr lang="en-US" smtClean="0"/>
              <a:t>Monday, February 17, 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496DA99-E916-9F7C-9E88-AA06046AE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1CC86B5-B6B3-4633-0D90-AACB44D0D4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E69E03-4804-4553-A1EC-F089884EF5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752658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78F7F10-35F6-E392-D41B-3CD300D5CCF8}"/>
              </a:ext>
            </a:extLst>
          </p:cNvPr>
          <p:cNvSpPr/>
          <p:nvPr/>
        </p:nvSpPr>
        <p:spPr>
          <a:xfrm>
            <a:off x="0" y="685800"/>
            <a:ext cx="11494008" cy="548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264F76-994F-4AB5-B17B-46C0C2FA5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5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A69B3B-A540-4556-98C8-1F49704A7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0624" y="1825625"/>
            <a:ext cx="5181600" cy="4206382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>
              <a:buChar char="¬"/>
            </a:pPr>
            <a:r>
              <a:rPr lang="en-US"/>
              <a:t>Click to edit Master text styles</a:t>
            </a:r>
          </a:p>
          <a:p>
            <a:pPr lvl="1">
              <a:buChar char="¬"/>
            </a:pPr>
            <a:r>
              <a:rPr lang="en-US"/>
              <a:t>Second level</a:t>
            </a:r>
          </a:p>
          <a:p>
            <a:pPr lvl="2">
              <a:buChar char="¬"/>
            </a:pPr>
            <a:r>
              <a:rPr lang="en-US"/>
              <a:t>Third level</a:t>
            </a:r>
          </a:p>
          <a:p>
            <a:pPr lvl="3">
              <a:buChar char="¬"/>
            </a:pPr>
            <a:r>
              <a:rPr lang="en-US"/>
              <a:t>Fourth level</a:t>
            </a:r>
          </a:p>
          <a:p>
            <a:pPr lvl="4">
              <a:buChar char="¬"/>
            </a:pPr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C72438-7C63-48F2-9D6F-2461BFD6D5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56178" y="1825625"/>
            <a:ext cx="5180046" cy="4206382"/>
          </a:xfrm>
        </p:spPr>
        <p:txBody>
          <a:bodyPr/>
          <a:lstStyle>
            <a:lvl1pPr marL="228600" indent="-228600">
              <a:buFont typeface="Wingdings 2" panose="05020102010507070707" pitchFamily="18" charset="2"/>
              <a:buChar char="¬"/>
              <a:defRPr/>
            </a:lvl1pPr>
            <a:lvl2pPr marL="685800" indent="-228600">
              <a:buFont typeface="Wingdings 2" panose="05020102010507070707" pitchFamily="18" charset="2"/>
              <a:buChar char="¬"/>
              <a:defRPr/>
            </a:lvl2pPr>
            <a:lvl3pPr marL="1143000" indent="-228600">
              <a:buFont typeface="Wingdings 2" panose="05020102010507070707" pitchFamily="18" charset="2"/>
              <a:buChar char="¬"/>
              <a:defRPr/>
            </a:lvl3pPr>
            <a:lvl4pPr marL="1600200" indent="-228600">
              <a:buFont typeface="Wingdings 2" panose="05020102010507070707" pitchFamily="18" charset="2"/>
              <a:buChar char="¬"/>
              <a:defRPr/>
            </a:lvl4pPr>
            <a:lvl5pPr marL="2057400" indent="-228600">
              <a:buFont typeface="Wingdings 2" panose="05020102010507070707" pitchFamily="18" charset="2"/>
              <a:buChar char="¬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5274CEC-210E-BC97-9B79-A7D801E4B5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E0E29-2C79-4A2A-B61C-A21B8362A50A}" type="datetime2">
              <a:rPr lang="en-US" smtClean="0"/>
              <a:t>Monday, February 17, 2025</a:t>
            </a:fld>
            <a:endParaRPr lang="en-US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486B3D53-F805-C08E-2359-498218FC68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61C4695B-D7BD-45F7-EB23-6FDAF2410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E69E03-4804-4553-A1EC-F089884EF5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483720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4A1F52B7-5271-53AA-8260-0CF50FF8DA3C}"/>
              </a:ext>
            </a:extLst>
          </p:cNvPr>
          <p:cNvSpPr/>
          <p:nvPr/>
        </p:nvSpPr>
        <p:spPr>
          <a:xfrm>
            <a:off x="0" y="685800"/>
            <a:ext cx="11494008" cy="548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2F9955-0460-4A20-8FC6-3005955600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178" y="365125"/>
            <a:ext cx="10515600" cy="1325563"/>
          </a:xfrm>
        </p:spPr>
        <p:txBody>
          <a:bodyPr>
            <a:normAutofit/>
          </a:bodyPr>
          <a:lstStyle>
            <a:lvl1pPr>
              <a:defRPr sz="5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95DDA7-4AAD-4EBE-880C-200E5F10A6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2178" y="1681163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3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717496-E470-4CF6-884C-F07390A468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2178" y="2505075"/>
            <a:ext cx="5157787" cy="3526932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C438EA-D381-4F22-A911-ECDD6D04FB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75459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32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F255FA-A04D-49F2-8DB4-3CC082D0DBC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754590" y="2505075"/>
            <a:ext cx="5183188" cy="3526932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198C3F1-4E77-7888-CDB8-CF9406E4A2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A0177-5432-41AC-9593-8EC96BFF4F82}" type="datetime2">
              <a:rPr lang="en-US" smtClean="0"/>
              <a:t>Monday, February 17, 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93561D3-90F6-AD82-BCFE-90F9427D8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32F9B33-3FA7-526F-7B45-342EB64A1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E69E03-4804-4553-A1EC-F089884EF5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6073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91F235-FBFF-453E-B90A-5758ED47C7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938306"/>
            <a:ext cx="10515600" cy="1325563"/>
          </a:xfrm>
        </p:spPr>
        <p:txBody>
          <a:bodyPr>
            <a:normAutofit/>
          </a:bodyPr>
          <a:lstStyle>
            <a:lvl1pPr>
              <a:defRPr sz="5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9328E63-E075-39E2-BAA7-30CCAE2E77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29A7B-B2F1-41A3-B969-4E25F618B967}" type="datetime2">
              <a:rPr lang="en-US" smtClean="0"/>
              <a:t>Monday, February 17, 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2A5894A5-0E01-F43E-C68A-2EFAB2EB8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250128C-CE40-2B40-1B89-7E9AAAAC4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E69E03-4804-4553-A1EC-F089884EF5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451883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E281B99-C6A0-F92A-BDD3-BB362196501C}"/>
              </a:ext>
            </a:extLst>
          </p:cNvPr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EB8367C-67E1-A50A-1584-F859A6FED9C9}"/>
              </a:ext>
            </a:extLst>
          </p:cNvPr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bg2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BB8861-51D7-741E-6B2C-25412D40E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98B79-F222-4FD1-8713-07459E1B5004}" type="datetime2">
              <a:rPr lang="en-US" smtClean="0"/>
              <a:t>Monday, February 17,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D69A2F-0657-B33B-8334-C458A95383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B4FC84-48ED-0480-2497-FCD84C1276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E69E03-4804-4553-A1EC-F089884EF5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107934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12261-8522-4437-B612-7C7100D188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457200"/>
            <a:ext cx="10512425" cy="1600200"/>
          </a:xfrm>
        </p:spPr>
        <p:txBody>
          <a:bodyPr anchor="b">
            <a:normAutofit/>
          </a:bodyPr>
          <a:lstStyle>
            <a:lvl1pPr>
              <a:defRPr sz="5200">
                <a:latin typeface="Dante (Headings)2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BAA0AF-3F50-42BD-84B4-E70C3D004F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2830" y="2199340"/>
            <a:ext cx="6172200" cy="3661710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9C702B-2C4D-4590-8BEE-31940145C7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20624" y="2199340"/>
            <a:ext cx="3932237" cy="3669647"/>
          </a:xfrm>
        </p:spPr>
        <p:txBody>
          <a:bodyPr>
            <a:norm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3F37370-7C05-0AAE-A0C3-9EE620A84E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630FD-0818-4065-B5FE-410552D9B1BC}" type="datetime2">
              <a:rPr lang="en-US" smtClean="0"/>
              <a:t>Monday, February 17, 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900B8E3-39E6-A88A-BBFB-717596EB3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48E340D-1840-D987-3EEA-963BDDE31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E69E03-4804-4553-A1EC-F089884EF5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142281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5334B-3019-4CA1-B658-779001922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457200"/>
            <a:ext cx="3932237" cy="1600200"/>
          </a:xfrm>
        </p:spPr>
        <p:txBody>
          <a:bodyPr anchor="b"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FD3CC12-FD6B-41A3-BF67-D600CC4383A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781276" y="987425"/>
            <a:ext cx="6172200" cy="4873625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DB2BD5-DC18-460B-BFCC-5B2447D2B0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20624" y="2199340"/>
            <a:ext cx="3932237" cy="3669647"/>
          </a:xfrm>
        </p:spPr>
        <p:txBody>
          <a:bodyPr>
            <a:norm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0F28E44-58BB-553B-BBD0-F292C66CCA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C2D289-0EBF-40C7-B6E8-60285281F180}" type="datetime2">
              <a:rPr lang="en-US" smtClean="0"/>
              <a:t>Monday, February 17,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F22D156-E5FE-F118-0553-B401F1965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8AEE0A6-6120-9BA2-5751-E0E2D8CF0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E69E03-4804-4553-A1EC-F089884EF5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316603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D930A-6467-4C46-BA13-A0F5EC12FF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5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841977A-7872-4BE8-8C5C-D2099BEDBB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268C47-2910-B99C-EC67-F6649ADC29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2A49D-4A7C-4944-9802-8EE0B5A6CEDD}" type="datetime2">
              <a:rPr lang="en-US" smtClean="0"/>
              <a:t>Monday, February 17, 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8019515-4A04-FBE0-E89C-86ECBB7E98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9C272-2490-C827-9BE5-9CEE41850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E69E03-4804-4553-A1EC-F089884EF5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081624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D76A9FC-D582-4FC8-B641-9F77B4DD15B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32613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3A1683-12F6-4BA6-AD1A-F98C609514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3943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BFF68BE-C313-C839-B719-0339AC344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89DDD-3B11-4150-8B39-3662C10D8BF9}" type="datetime2">
              <a:rPr lang="en-US" smtClean="0"/>
              <a:t>Monday, February 17, 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14F4E5F-FFF4-F934-3DD9-134F8D242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CFE0F82-88EB-FAE2-FC02-99D5EE301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E69E03-4804-4553-A1EC-F089884EF5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767762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C25DC5C-9302-4309-92B2-6F8FFA299A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1" y="1614"/>
            <a:ext cx="12261539" cy="6879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43023" y="4091676"/>
            <a:ext cx="10363200" cy="766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3023" y="4981800"/>
            <a:ext cx="9144000" cy="6136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C9CB220-20B2-45B1-9FDC-33DA2A5FCE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7763" y="648790"/>
            <a:ext cx="3028796" cy="95176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CD17CE-BF4D-46FF-B912-8E84AC21F694}"/>
              </a:ext>
            </a:extLst>
          </p:cNvPr>
          <p:cNvCxnSpPr>
            <a:cxnSpLocks/>
          </p:cNvCxnSpPr>
          <p:nvPr/>
        </p:nvCxnSpPr>
        <p:spPr>
          <a:xfrm>
            <a:off x="1343024" y="4920118"/>
            <a:ext cx="536577" cy="0"/>
          </a:xfrm>
          <a:prstGeom prst="line">
            <a:avLst/>
          </a:prstGeom>
          <a:ln w="57150">
            <a:solidFill>
              <a:srgbClr val="DF5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9BA6EFE-957F-44FF-9B5C-F7BEED3566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1" y="1614"/>
            <a:ext cx="12261539" cy="68792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F48F20A-1C8C-4DC4-9B34-695F2FB290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7763" y="648790"/>
            <a:ext cx="3028796" cy="95176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204F605-935E-41C5-9032-26727137861C}"/>
              </a:ext>
            </a:extLst>
          </p:cNvPr>
          <p:cNvCxnSpPr>
            <a:cxnSpLocks/>
          </p:cNvCxnSpPr>
          <p:nvPr/>
        </p:nvCxnSpPr>
        <p:spPr>
          <a:xfrm>
            <a:off x="1343024" y="4920118"/>
            <a:ext cx="536577" cy="0"/>
          </a:xfrm>
          <a:prstGeom prst="line">
            <a:avLst/>
          </a:prstGeom>
          <a:ln w="57150">
            <a:solidFill>
              <a:srgbClr val="DF5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2874808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97762" y="4091676"/>
            <a:ext cx="10508460" cy="766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4852" y="4981800"/>
            <a:ext cx="9272171" cy="6136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C9CB220-20B2-45B1-9FDC-33DA2A5FCE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7763" y="648790"/>
            <a:ext cx="3028796" cy="95176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CD17CE-BF4D-46FF-B912-8E84AC21F694}"/>
              </a:ext>
            </a:extLst>
          </p:cNvPr>
          <p:cNvCxnSpPr>
            <a:cxnSpLocks/>
          </p:cNvCxnSpPr>
          <p:nvPr/>
        </p:nvCxnSpPr>
        <p:spPr>
          <a:xfrm>
            <a:off x="1343024" y="4920118"/>
            <a:ext cx="536577" cy="0"/>
          </a:xfrm>
          <a:prstGeom prst="line">
            <a:avLst/>
          </a:prstGeom>
          <a:ln w="57150">
            <a:solidFill>
              <a:srgbClr val="DF5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4D676EF3-A8C2-4901-98A4-1DF6BDD57C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7763" y="648790"/>
            <a:ext cx="3028796" cy="95176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3297F48-5611-4E79-A4F2-A9752FFCCA88}"/>
              </a:ext>
            </a:extLst>
          </p:cNvPr>
          <p:cNvCxnSpPr>
            <a:cxnSpLocks/>
          </p:cNvCxnSpPr>
          <p:nvPr/>
        </p:nvCxnSpPr>
        <p:spPr>
          <a:xfrm>
            <a:off x="1343024" y="4920118"/>
            <a:ext cx="536577" cy="0"/>
          </a:xfrm>
          <a:prstGeom prst="line">
            <a:avLst/>
          </a:prstGeom>
          <a:ln w="57150">
            <a:solidFill>
              <a:srgbClr val="DF5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5C7A19F-3EF1-49FD-A836-88FD26830144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6787447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4660" y="365127"/>
            <a:ext cx="11282680" cy="51152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4660" y="1825625"/>
            <a:ext cx="11282680" cy="4155721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3EFC08-344F-4D42-8E54-14EB52761A08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383218D-2AF8-45BC-9620-1654532E6E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B2FE79D-4E7D-4A53-879C-3E1A7CAFF4A3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72EA639-E813-4347-BD64-21E08C8881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8762346-033C-4D04-82B6-0D6C954BFAEB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85CA67-F231-47AC-938E-789ECEA48181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207A2A37-D9DF-448B-A36B-C46CC2A55C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54660" y="882986"/>
            <a:ext cx="11282680" cy="306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2572528-D872-4159-96AE-BB439CD9D2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98B0D31-3BD5-402C-BC41-6F5EDAD5B122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9621498-9C05-429F-A5ED-99BCC718B4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D5CB073-5F78-406E-9587-6CBF3A926683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22B68A-1285-4C53-8E60-5F1BC2E4A343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1994954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39BEFA2-612A-445A-90B2-03215E4563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1" y="1614"/>
            <a:ext cx="12261539" cy="687924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D6B39ED-5E7E-4907-A81E-C0C5F4B49002}"/>
              </a:ext>
            </a:extLst>
          </p:cNvPr>
          <p:cNvSpPr txBox="1">
            <a:spLocks/>
          </p:cNvSpPr>
          <p:nvPr/>
        </p:nvSpPr>
        <p:spPr>
          <a:xfrm>
            <a:off x="1343023" y="4091676"/>
            <a:ext cx="10363200" cy="7667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200" b="1" dirty="0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0CDE089-92C7-4100-93F5-D68DE52AC66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1343023" y="4981800"/>
            <a:ext cx="9144000" cy="6136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366F195-5246-404C-A50E-8FAFC4D61B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7763" y="648790"/>
            <a:ext cx="3028796" cy="951762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ACB1302-DA9F-4C79-9911-962DBA7FAE8C}"/>
              </a:ext>
            </a:extLst>
          </p:cNvPr>
          <p:cNvCxnSpPr>
            <a:cxnSpLocks/>
          </p:cNvCxnSpPr>
          <p:nvPr/>
        </p:nvCxnSpPr>
        <p:spPr>
          <a:xfrm>
            <a:off x="1343024" y="4920118"/>
            <a:ext cx="536577" cy="0"/>
          </a:xfrm>
          <a:prstGeom prst="line">
            <a:avLst/>
          </a:prstGeom>
          <a:ln w="57150">
            <a:solidFill>
              <a:srgbClr val="DF5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91000A61-BA2E-4873-89D2-299CF3D256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61" y="1614"/>
            <a:ext cx="12261539" cy="6879246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01F6029C-DCB4-4B1E-A9E2-A9497BDA7B31}"/>
              </a:ext>
            </a:extLst>
          </p:cNvPr>
          <p:cNvSpPr txBox="1">
            <a:spLocks/>
          </p:cNvSpPr>
          <p:nvPr/>
        </p:nvSpPr>
        <p:spPr>
          <a:xfrm>
            <a:off x="1197763" y="4091676"/>
            <a:ext cx="10508460" cy="7667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200" b="1" dirty="0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87C6B76-3D95-40CD-A09E-F367270075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7763" y="648790"/>
            <a:ext cx="3028796" cy="951762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D3C94C4-5219-4BC0-B158-C39CEFBE1641}"/>
              </a:ext>
            </a:extLst>
          </p:cNvPr>
          <p:cNvCxnSpPr>
            <a:cxnSpLocks/>
          </p:cNvCxnSpPr>
          <p:nvPr/>
        </p:nvCxnSpPr>
        <p:spPr>
          <a:xfrm>
            <a:off x="1343024" y="4920118"/>
            <a:ext cx="536577" cy="0"/>
          </a:xfrm>
          <a:prstGeom prst="line">
            <a:avLst/>
          </a:prstGeom>
          <a:ln w="57150">
            <a:solidFill>
              <a:srgbClr val="DF5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ubtitle 2">
            <a:extLst>
              <a:ext uri="{FF2B5EF4-FFF2-40B4-BE49-F238E27FC236}">
                <a16:creationId xmlns:a16="http://schemas.microsoft.com/office/drawing/2014/main" id="{371BE457-B335-52E5-A109-BC808D04449C}"/>
              </a:ext>
            </a:extLst>
          </p:cNvPr>
          <p:cNvSpPr txBox="1">
            <a:spLocks/>
          </p:cNvSpPr>
          <p:nvPr/>
        </p:nvSpPr>
        <p:spPr>
          <a:xfrm>
            <a:off x="1214852" y="4981800"/>
            <a:ext cx="9272171" cy="6136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992141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5173" y="1825625"/>
            <a:ext cx="5594627" cy="4134752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565139" cy="4134752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424189C-5E39-40F8-8455-8E64C4962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3EFC08-344F-4D42-8E54-14EB52761A08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3FCC05C-520D-4462-A6D0-005FB924A1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5207AB1-33DD-4750-B374-3667BC635200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FD06B7F-8E89-4545-8A7C-B52CF3D21E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86E0749-15B3-457F-92EC-2AA4810B363E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2701CFF-73B2-4CF8-842A-5FED8061A699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572F0A2B-A810-425B-837D-910F52479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173" y="365127"/>
            <a:ext cx="11312167" cy="51152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715A9C1D-3FED-4C2A-9C8C-D3992A54C34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25174" y="882986"/>
            <a:ext cx="11312165" cy="306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17FC50B1-B7EB-459A-99AA-26F42A8683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5C51390-CA4F-4523-A57D-14B16FC22DCA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AFB1FE92-2A7F-4BC6-8412-7467801641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9131F7A-A7BD-4A01-B78D-5C66710461C4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543A7A1-2A23-47B3-A066-C640C0CF7B1F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697447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9" y="2505075"/>
            <a:ext cx="5157787" cy="3438524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72201" y="2505075"/>
            <a:ext cx="5183188" cy="3438524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4838335-13DF-4B7E-9280-D848685C4C98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96034FF-B679-4128-B512-4C8D9202F5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D0FD761-EDC3-4C50-A6AA-A7577C2365BC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D242239-356B-4E86-A980-69716E5660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0477C14-BD29-4216-AE68-DEDBA0B65341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A9C8447-FC2F-4740-83F1-6726EC2AB91B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24A641FA-A7B0-4E64-980C-36107BB0B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7"/>
            <a:ext cx="10515600" cy="51152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E220488D-CE19-45D6-A739-55F53DCB066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838200" y="882986"/>
            <a:ext cx="9144000" cy="306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A3F5EA6-67BF-44B4-AE02-E61F06EF5385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6634EB14-F11A-4496-A3E3-237A10B882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CC35E5B-BB54-4802-ADE8-55F279DC1327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B481C70A-101F-4B7E-A71C-8B51EBF336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C1CC393-1A9D-4D2A-8B4B-15DE8BC9E0BA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931217D-A3E0-4241-A3F7-6945E3426E33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3480445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F451E4-8AEA-47A5-878C-F9B08C9BD934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D65EE46-69FE-472B-8871-73F8B8F5F6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29D8C9C-F3D4-4E80-B947-F7A58F958455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4B79EFC-34E2-40B3-986A-A47640EC6D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18EDF6F-1083-4BB6-AE2B-7D2A910D0E46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2706901-9625-49F4-9E1B-84A77E40F213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CBEC36D2-A367-433E-89C8-39698F0E7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660" y="365127"/>
            <a:ext cx="11282680" cy="51152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4F8375E-BA1D-4E7B-88BD-19543F393E4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54660" y="882986"/>
            <a:ext cx="11282680" cy="306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32D92C4-491D-45AA-93DE-00C075FE768C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F616078-A9B9-4B17-94F5-97332D80D2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583FB1D-FEE8-4396-8F32-68B9726B7390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66807EE-4BF7-4423-AB65-8BAB5E6BBF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669D2C1-2E63-43EC-ADCE-22AC94558554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3C9D3E-933B-43B2-BF0B-DB440077DB66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8250672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D42ABEC-775E-403F-8F08-A18F535AA105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703CB55-7F2F-4B0A-A44F-E7381C390F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3DE5E99-F85E-466B-A1CC-61D4DA78DD31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785DF4D-D99F-41D0-AD21-43B89D0572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96D67B-7890-468F-A2D1-CE2B9F2E537F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4774-75D7-44C8-85D1-F82CECF01B8A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3B4CC66-78D8-4206-BD69-D723B874622A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DBFF7CE-CFA2-40C8-BEB8-04EC141DFE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C6561F9-8E28-4531-97EC-A6E5B896B11B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F7CD991-320D-4E72-8028-198C908B35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DA04E5A-E20D-4A17-B563-032D34C568BE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B3611F0-3F36-4C6F-8F7D-E560F7860C6A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8186771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4660" y="457200"/>
            <a:ext cx="4317365" cy="1600200"/>
          </a:xfrm>
          <a:prstGeom prst="rect">
            <a:avLst/>
          </a:prstGeom>
        </p:spPr>
        <p:txBody>
          <a:bodyPr anchor="b"/>
          <a:lstStyle>
            <a:lvl1pPr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457201"/>
            <a:ext cx="6554152" cy="54038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54660" y="2057400"/>
            <a:ext cx="431736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DDDC6C6-DE41-4B77-8B5B-52B15AA26264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B05FB62-BDE2-452A-A9E0-5F265AEAAB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2096ABB-9401-4DC2-9304-A5EC51FB398C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B365F63-6731-4791-A3B7-F1A49E0702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DA489C-2FFA-4BF4-B27B-19434BDA0EF9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8AA204A-27F8-4F06-BCC7-5AA6F820769A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90A6135-0596-43B9-9761-151ECC6A172B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0D1206D-D2D3-424E-B354-EA7BA141BA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554CC7F-7486-45C1-82A0-A0FAAE138138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64390A5-F25A-4353-9855-4901A2B9E0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BB0FF8D-0893-4F22-8624-FD865BB32532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DC4792B-9137-4358-9626-9477A45BAD11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7552132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4660" y="457200"/>
            <a:ext cx="4965915" cy="1600200"/>
          </a:xfrm>
          <a:prstGeom prst="rect">
            <a:avLst/>
          </a:prstGeom>
        </p:spPr>
        <p:txBody>
          <a:bodyPr anchor="b"/>
          <a:lstStyle>
            <a:lvl1pPr>
              <a:defRPr sz="32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65140" y="457201"/>
            <a:ext cx="6172200" cy="540861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54660" y="2057400"/>
            <a:ext cx="496591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67E54DB-1BFF-4CF9-8132-B9B9320C4791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CD92AC9-FABA-4B1F-94C3-11EF4C0618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C1F8791-0284-4002-8FBF-3D57D1BA7DE9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2CCAE70-9EDC-4812-8EEB-2F2BCCED0D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81EDB6-9B78-4668-A771-765E8819CE4C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77A1699-5BF5-462B-9B94-5B582F309F1A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2277C1F-9B92-4BCD-AEF6-2C9095D8307B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89BB9228-5A5C-4546-9AF4-FE15AAB957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C4B0D0F-875B-4E4D-80DE-53886F8E4A4D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30EB50ED-2232-46EA-93C1-DA81D2D945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A3A48BB-3AD5-483A-978E-58D4EB13A047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6B2ED96-FD3D-4479-B972-6F469666F2F4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517746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EF02685-212E-1913-39F2-107B37F42022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60D5640-2954-83D9-E5AE-52787D6C67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0C3740-1588-F1CB-12C8-D4C0A9E8044E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9DBB051-DB98-674F-56F2-CF8B692E5C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98812A3-3771-7412-0BD8-104184431A23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59E9031-AF5D-D68C-1BEB-35BF4796291E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55FC9DA-F7DF-934E-3974-52CD8D521FCE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A2D7C4A-27EE-B184-346C-E821BC0507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54AE39E-039C-63B7-E5F6-CCD80A32FAFF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A88E604-F80E-66FC-7358-EE8C0A3C3E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9EE649-AE8A-A0EA-4F40-0DED8503926B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BC26B69-1CD4-576B-433F-5485C0CC81FD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C6B8B6-4D22-167B-114A-E87B5D8DECFB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454660" y="1524003"/>
            <a:ext cx="11282680" cy="434181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CFA5619-B497-E0AC-CDD3-04D74BA11B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660" y="365127"/>
            <a:ext cx="11282680" cy="51152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EE9AF7BA-930F-4FA3-B25D-B97498C37F0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54660" y="882986"/>
            <a:ext cx="11282680" cy="3068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003135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EF02685-212E-1913-39F2-107B37F42022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60D5640-2954-83D9-E5AE-52787D6C67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0C3740-1588-F1CB-12C8-D4C0A9E8044E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9DBB051-DB98-674F-56F2-CF8B692E5C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98812A3-3771-7412-0BD8-104184431A23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59E9031-AF5D-D68C-1BEB-35BF4796291E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55FC9DA-F7DF-934E-3974-52CD8D521FCE}"/>
              </a:ext>
            </a:extLst>
          </p:cNvPr>
          <p:cNvSpPr txBox="1">
            <a:spLocks/>
          </p:cNvSpPr>
          <p:nvPr/>
        </p:nvSpPr>
        <p:spPr>
          <a:xfrm>
            <a:off x="4738369" y="62945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0B21AB-6393-4F0F-B9EE-6626A7728ADF}" type="slidenum">
              <a:rPr lang="en-US" sz="1100" smtClean="0"/>
              <a:pPr/>
              <a:t>‹#›</a:t>
            </a:fld>
            <a:endParaRPr lang="en-US" sz="1100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A2D7C4A-27EE-B184-346C-E821BC0507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660" y="6336030"/>
            <a:ext cx="228600" cy="17145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54AE39E-039C-63B7-E5F6-CCD80A32FAFF}"/>
              </a:ext>
            </a:extLst>
          </p:cNvPr>
          <p:cNvSpPr txBox="1"/>
          <p:nvPr/>
        </p:nvSpPr>
        <p:spPr>
          <a:xfrm>
            <a:off x="683261" y="6313959"/>
            <a:ext cx="101822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aichicago.org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EA88E604-F80E-66FC-7358-EE8C0A3C3E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59340" y="6330316"/>
            <a:ext cx="1778000" cy="23812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9EE649-AE8A-A0EA-4F40-0DED8503926B}"/>
              </a:ext>
            </a:extLst>
          </p:cNvPr>
          <p:cNvCxnSpPr>
            <a:cxnSpLocks/>
          </p:cNvCxnSpPr>
          <p:nvPr/>
        </p:nvCxnSpPr>
        <p:spPr>
          <a:xfrm>
            <a:off x="454661" y="6055995"/>
            <a:ext cx="5641340" cy="0"/>
          </a:xfrm>
          <a:prstGeom prst="line">
            <a:avLst/>
          </a:prstGeom>
          <a:ln w="12700">
            <a:solidFill>
              <a:srgbClr val="5769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BC26B69-1CD4-576B-433F-5485C0CC81FD}"/>
              </a:ext>
            </a:extLst>
          </p:cNvPr>
          <p:cNvCxnSpPr>
            <a:cxnSpLocks/>
          </p:cNvCxnSpPr>
          <p:nvPr/>
        </p:nvCxnSpPr>
        <p:spPr>
          <a:xfrm>
            <a:off x="6109969" y="6055995"/>
            <a:ext cx="5627371" cy="0"/>
          </a:xfrm>
          <a:prstGeom prst="line">
            <a:avLst/>
          </a:prstGeom>
          <a:ln w="12700">
            <a:solidFill>
              <a:srgbClr val="ABB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2EC6B8B6-4D22-167B-114A-E87B5D8DECFB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454660" y="350521"/>
            <a:ext cx="11282680" cy="5515293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963911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ation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9C5CBDE6-92A4-4B68-830A-3B80870269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4E95432F-2977-4077-8512-692024EB18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35500" y="1134428"/>
            <a:ext cx="7086600" cy="96202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4DA1669D-4DF9-4D17-A1D1-3471370E0F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D5EDCBD-219F-4E13-96EB-2D08748B7A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35500" y="1134428"/>
            <a:ext cx="7086600" cy="96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5949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99" Type="http://schemas.openxmlformats.org/officeDocument/2006/relationships/slideLayout" Target="../slideLayouts/slideLayout299.xml"/><Relationship Id="rId21" Type="http://schemas.openxmlformats.org/officeDocument/2006/relationships/slideLayout" Target="../slideLayouts/slideLayout21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324" Type="http://schemas.openxmlformats.org/officeDocument/2006/relationships/slideLayout" Target="../slideLayouts/slideLayout324.xml"/><Relationship Id="rId366" Type="http://schemas.openxmlformats.org/officeDocument/2006/relationships/slideLayout" Target="../slideLayouts/slideLayout366.xml"/><Relationship Id="rId170" Type="http://schemas.openxmlformats.org/officeDocument/2006/relationships/slideLayout" Target="../slideLayouts/slideLayout170.xml"/><Relationship Id="rId226" Type="http://schemas.openxmlformats.org/officeDocument/2006/relationships/slideLayout" Target="../slideLayouts/slideLayout226.xml"/><Relationship Id="rId433" Type="http://schemas.openxmlformats.org/officeDocument/2006/relationships/slideLayout" Target="../slideLayouts/slideLayout433.xml"/><Relationship Id="rId268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32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335" Type="http://schemas.openxmlformats.org/officeDocument/2006/relationships/slideLayout" Target="../slideLayouts/slideLayout335.xml"/><Relationship Id="rId377" Type="http://schemas.openxmlformats.org/officeDocument/2006/relationships/slideLayout" Target="../slideLayouts/slideLayout377.xml"/><Relationship Id="rId5" Type="http://schemas.openxmlformats.org/officeDocument/2006/relationships/slideLayout" Target="../slideLayouts/slideLayout5.xml"/><Relationship Id="rId181" Type="http://schemas.openxmlformats.org/officeDocument/2006/relationships/slideLayout" Target="../slideLayouts/slideLayout181.xml"/><Relationship Id="rId237" Type="http://schemas.openxmlformats.org/officeDocument/2006/relationships/slideLayout" Target="../slideLayouts/slideLayout237.xml"/><Relationship Id="rId402" Type="http://schemas.openxmlformats.org/officeDocument/2006/relationships/slideLayout" Target="../slideLayouts/slideLayout402.xml"/><Relationship Id="rId279" Type="http://schemas.openxmlformats.org/officeDocument/2006/relationships/slideLayout" Target="../slideLayouts/slideLayout279.xml"/><Relationship Id="rId444" Type="http://schemas.openxmlformats.org/officeDocument/2006/relationships/slideLayout" Target="../slideLayouts/slideLayout444.xml"/><Relationship Id="rId43" Type="http://schemas.openxmlformats.org/officeDocument/2006/relationships/slideLayout" Target="../slideLayouts/slideLayout43.xml"/><Relationship Id="rId139" Type="http://schemas.openxmlformats.org/officeDocument/2006/relationships/slideLayout" Target="../slideLayouts/slideLayout139.xml"/><Relationship Id="rId290" Type="http://schemas.openxmlformats.org/officeDocument/2006/relationships/slideLayout" Target="../slideLayouts/slideLayout290.xml"/><Relationship Id="rId304" Type="http://schemas.openxmlformats.org/officeDocument/2006/relationships/slideLayout" Target="../slideLayouts/slideLayout304.xml"/><Relationship Id="rId346" Type="http://schemas.openxmlformats.org/officeDocument/2006/relationships/slideLayout" Target="../slideLayouts/slideLayout346.xml"/><Relationship Id="rId388" Type="http://schemas.openxmlformats.org/officeDocument/2006/relationships/slideLayout" Target="../slideLayouts/slideLayout388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413" Type="http://schemas.openxmlformats.org/officeDocument/2006/relationships/slideLayout" Target="../slideLayouts/slideLayout413.xml"/><Relationship Id="rId248" Type="http://schemas.openxmlformats.org/officeDocument/2006/relationships/slideLayout" Target="../slideLayouts/slideLayout248.xml"/><Relationship Id="rId455" Type="http://schemas.openxmlformats.org/officeDocument/2006/relationships/slideLayout" Target="../slideLayouts/slideLayout455.xml"/><Relationship Id="rId12" Type="http://schemas.openxmlformats.org/officeDocument/2006/relationships/slideLayout" Target="../slideLayouts/slideLayout12.xml"/><Relationship Id="rId108" Type="http://schemas.openxmlformats.org/officeDocument/2006/relationships/slideLayout" Target="../slideLayouts/slideLayout108.xml"/><Relationship Id="rId315" Type="http://schemas.openxmlformats.org/officeDocument/2006/relationships/slideLayout" Target="../slideLayouts/slideLayout315.xml"/><Relationship Id="rId357" Type="http://schemas.openxmlformats.org/officeDocument/2006/relationships/slideLayout" Target="../slideLayouts/slideLayout357.xml"/><Relationship Id="rId54" Type="http://schemas.openxmlformats.org/officeDocument/2006/relationships/slideLayout" Target="../slideLayouts/slideLayout54.xml"/><Relationship Id="rId96" Type="http://schemas.openxmlformats.org/officeDocument/2006/relationships/slideLayout" Target="../slideLayouts/slideLayout96.xml"/><Relationship Id="rId161" Type="http://schemas.openxmlformats.org/officeDocument/2006/relationships/slideLayout" Target="../slideLayouts/slideLayout161.xml"/><Relationship Id="rId217" Type="http://schemas.openxmlformats.org/officeDocument/2006/relationships/slideLayout" Target="../slideLayouts/slideLayout217.xml"/><Relationship Id="rId399" Type="http://schemas.openxmlformats.org/officeDocument/2006/relationships/slideLayout" Target="../slideLayouts/slideLayout399.xml"/><Relationship Id="rId259" Type="http://schemas.openxmlformats.org/officeDocument/2006/relationships/slideLayout" Target="../slideLayouts/slideLayout259.xml"/><Relationship Id="rId424" Type="http://schemas.openxmlformats.org/officeDocument/2006/relationships/slideLayout" Target="../slideLayouts/slideLayout424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326" Type="http://schemas.openxmlformats.org/officeDocument/2006/relationships/slideLayout" Target="../slideLayouts/slideLayout326.xml"/><Relationship Id="rId65" Type="http://schemas.openxmlformats.org/officeDocument/2006/relationships/slideLayout" Target="../slideLayouts/slideLayout65.xml"/><Relationship Id="rId130" Type="http://schemas.openxmlformats.org/officeDocument/2006/relationships/slideLayout" Target="../slideLayouts/slideLayout130.xml"/><Relationship Id="rId368" Type="http://schemas.openxmlformats.org/officeDocument/2006/relationships/slideLayout" Target="../slideLayouts/slideLayout368.xml"/><Relationship Id="rId172" Type="http://schemas.openxmlformats.org/officeDocument/2006/relationships/slideLayout" Target="../slideLayouts/slideLayout172.xml"/><Relationship Id="rId228" Type="http://schemas.openxmlformats.org/officeDocument/2006/relationships/slideLayout" Target="../slideLayouts/slideLayout228.xml"/><Relationship Id="rId435" Type="http://schemas.openxmlformats.org/officeDocument/2006/relationships/slideLayout" Target="../slideLayouts/slideLayout435.xml"/><Relationship Id="rId281" Type="http://schemas.openxmlformats.org/officeDocument/2006/relationships/slideLayout" Target="../slideLayouts/slideLayout281.xml"/><Relationship Id="rId337" Type="http://schemas.openxmlformats.org/officeDocument/2006/relationships/slideLayout" Target="../slideLayouts/slideLayout337.xml"/><Relationship Id="rId34" Type="http://schemas.openxmlformats.org/officeDocument/2006/relationships/slideLayout" Target="../slideLayouts/slideLayout34.xml"/><Relationship Id="rId76" Type="http://schemas.openxmlformats.org/officeDocument/2006/relationships/slideLayout" Target="../slideLayouts/slideLayout76.xml"/><Relationship Id="rId141" Type="http://schemas.openxmlformats.org/officeDocument/2006/relationships/slideLayout" Target="../slideLayouts/slideLayout141.xml"/><Relationship Id="rId379" Type="http://schemas.openxmlformats.org/officeDocument/2006/relationships/slideLayout" Target="../slideLayouts/slideLayout379.xml"/><Relationship Id="rId7" Type="http://schemas.openxmlformats.org/officeDocument/2006/relationships/slideLayout" Target="../slideLayouts/slideLayout7.xml"/><Relationship Id="rId183" Type="http://schemas.openxmlformats.org/officeDocument/2006/relationships/slideLayout" Target="../slideLayouts/slideLayout183.xml"/><Relationship Id="rId239" Type="http://schemas.openxmlformats.org/officeDocument/2006/relationships/slideLayout" Target="../slideLayouts/slideLayout239.xml"/><Relationship Id="rId390" Type="http://schemas.openxmlformats.org/officeDocument/2006/relationships/slideLayout" Target="../slideLayouts/slideLayout390.xml"/><Relationship Id="rId404" Type="http://schemas.openxmlformats.org/officeDocument/2006/relationships/slideLayout" Target="../slideLayouts/slideLayout404.xml"/><Relationship Id="rId446" Type="http://schemas.openxmlformats.org/officeDocument/2006/relationships/slideLayout" Target="../slideLayouts/slideLayout446.xml"/><Relationship Id="rId250" Type="http://schemas.openxmlformats.org/officeDocument/2006/relationships/slideLayout" Target="../slideLayouts/slideLayout250.xml"/><Relationship Id="rId292" Type="http://schemas.openxmlformats.org/officeDocument/2006/relationships/slideLayout" Target="../slideLayouts/slideLayout292.xml"/><Relationship Id="rId306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45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348" Type="http://schemas.openxmlformats.org/officeDocument/2006/relationships/slideLayout" Target="../slideLayouts/slideLayout348.xml"/><Relationship Id="rId152" Type="http://schemas.openxmlformats.org/officeDocument/2006/relationships/slideLayout" Target="../slideLayouts/slideLayout152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415" Type="http://schemas.openxmlformats.org/officeDocument/2006/relationships/slideLayout" Target="../slideLayouts/slideLayout415.xml"/><Relationship Id="rId457" Type="http://schemas.openxmlformats.org/officeDocument/2006/relationships/slideLayout" Target="../slideLayouts/slideLayout457.xml"/><Relationship Id="rId261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14.xml"/><Relationship Id="rId56" Type="http://schemas.openxmlformats.org/officeDocument/2006/relationships/slideLayout" Target="../slideLayouts/slideLayout56.xml"/><Relationship Id="rId317" Type="http://schemas.openxmlformats.org/officeDocument/2006/relationships/slideLayout" Target="../slideLayouts/slideLayout317.xml"/><Relationship Id="rId359" Type="http://schemas.openxmlformats.org/officeDocument/2006/relationships/slideLayout" Target="../slideLayouts/slideLayout359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63" Type="http://schemas.openxmlformats.org/officeDocument/2006/relationships/slideLayout" Target="../slideLayouts/slideLayout163.xml"/><Relationship Id="rId219" Type="http://schemas.openxmlformats.org/officeDocument/2006/relationships/slideLayout" Target="../slideLayouts/slideLayout219.xml"/><Relationship Id="rId370" Type="http://schemas.openxmlformats.org/officeDocument/2006/relationships/slideLayout" Target="../slideLayouts/slideLayout370.xml"/><Relationship Id="rId426" Type="http://schemas.openxmlformats.org/officeDocument/2006/relationships/slideLayout" Target="../slideLayouts/slideLayout426.xml"/><Relationship Id="rId230" Type="http://schemas.openxmlformats.org/officeDocument/2006/relationships/slideLayout" Target="../slideLayouts/slideLayout230.xml"/><Relationship Id="rId25" Type="http://schemas.openxmlformats.org/officeDocument/2006/relationships/slideLayout" Target="../slideLayouts/slideLayout25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328" Type="http://schemas.openxmlformats.org/officeDocument/2006/relationships/slideLayout" Target="../slideLayouts/slideLayout328.xml"/><Relationship Id="rId132" Type="http://schemas.openxmlformats.org/officeDocument/2006/relationships/slideLayout" Target="../slideLayouts/slideLayout132.xml"/><Relationship Id="rId174" Type="http://schemas.openxmlformats.org/officeDocument/2006/relationships/slideLayout" Target="../slideLayouts/slideLayout174.xml"/><Relationship Id="rId381" Type="http://schemas.openxmlformats.org/officeDocument/2006/relationships/slideLayout" Target="../slideLayouts/slideLayout381.xml"/><Relationship Id="rId241" Type="http://schemas.openxmlformats.org/officeDocument/2006/relationships/slideLayout" Target="../slideLayouts/slideLayout241.xml"/><Relationship Id="rId437" Type="http://schemas.openxmlformats.org/officeDocument/2006/relationships/slideLayout" Target="../slideLayouts/slideLayout437.xml"/><Relationship Id="rId36" Type="http://schemas.openxmlformats.org/officeDocument/2006/relationships/slideLayout" Target="../slideLayouts/slideLayout36.xml"/><Relationship Id="rId283" Type="http://schemas.openxmlformats.org/officeDocument/2006/relationships/slideLayout" Target="../slideLayouts/slideLayout283.xml"/><Relationship Id="rId339" Type="http://schemas.openxmlformats.org/officeDocument/2006/relationships/slideLayout" Target="../slideLayouts/slideLayout339.xml"/><Relationship Id="rId78" Type="http://schemas.openxmlformats.org/officeDocument/2006/relationships/slideLayout" Target="../slideLayouts/slideLayout78.xml"/><Relationship Id="rId101" Type="http://schemas.openxmlformats.org/officeDocument/2006/relationships/slideLayout" Target="../slideLayouts/slideLayout101.xml"/><Relationship Id="rId143" Type="http://schemas.openxmlformats.org/officeDocument/2006/relationships/slideLayout" Target="../slideLayouts/slideLayout143.xml"/><Relationship Id="rId185" Type="http://schemas.openxmlformats.org/officeDocument/2006/relationships/slideLayout" Target="../slideLayouts/slideLayout185.xml"/><Relationship Id="rId350" Type="http://schemas.openxmlformats.org/officeDocument/2006/relationships/slideLayout" Target="../slideLayouts/slideLayout350.xml"/><Relationship Id="rId406" Type="http://schemas.openxmlformats.org/officeDocument/2006/relationships/slideLayout" Target="../slideLayouts/slideLayout406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392" Type="http://schemas.openxmlformats.org/officeDocument/2006/relationships/slideLayout" Target="../slideLayouts/slideLayout392.xml"/><Relationship Id="rId448" Type="http://schemas.openxmlformats.org/officeDocument/2006/relationships/slideLayout" Target="../slideLayouts/slideLayout448.xml"/><Relationship Id="rId252" Type="http://schemas.openxmlformats.org/officeDocument/2006/relationships/slideLayout" Target="../slideLayouts/slideLayout252.xml"/><Relationship Id="rId294" Type="http://schemas.openxmlformats.org/officeDocument/2006/relationships/slideLayout" Target="../slideLayouts/slideLayout294.xml"/><Relationship Id="rId308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47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54" Type="http://schemas.openxmlformats.org/officeDocument/2006/relationships/slideLayout" Target="../slideLayouts/slideLayout154.xml"/><Relationship Id="rId361" Type="http://schemas.openxmlformats.org/officeDocument/2006/relationships/slideLayout" Target="../slideLayouts/slideLayout361.xml"/><Relationship Id="rId196" Type="http://schemas.openxmlformats.org/officeDocument/2006/relationships/slideLayout" Target="../slideLayouts/slideLayout196.xml"/><Relationship Id="rId417" Type="http://schemas.openxmlformats.org/officeDocument/2006/relationships/slideLayout" Target="../slideLayouts/slideLayout417.xml"/><Relationship Id="rId459" Type="http://schemas.openxmlformats.org/officeDocument/2006/relationships/slideLayout" Target="../slideLayouts/slideLayout459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63" Type="http://schemas.openxmlformats.org/officeDocument/2006/relationships/slideLayout" Target="../slideLayouts/slideLayout263.xml"/><Relationship Id="rId319" Type="http://schemas.openxmlformats.org/officeDocument/2006/relationships/slideLayout" Target="../slideLayouts/slideLayout319.xml"/><Relationship Id="rId58" Type="http://schemas.openxmlformats.org/officeDocument/2006/relationships/slideLayout" Target="../slideLayouts/slideLayout58.xml"/><Relationship Id="rId123" Type="http://schemas.openxmlformats.org/officeDocument/2006/relationships/slideLayout" Target="../slideLayouts/slideLayout123.xml"/><Relationship Id="rId330" Type="http://schemas.openxmlformats.org/officeDocument/2006/relationships/slideLayout" Target="../slideLayouts/slideLayout330.xml"/><Relationship Id="rId165" Type="http://schemas.openxmlformats.org/officeDocument/2006/relationships/slideLayout" Target="../slideLayouts/slideLayout165.xml"/><Relationship Id="rId372" Type="http://schemas.openxmlformats.org/officeDocument/2006/relationships/slideLayout" Target="../slideLayouts/slideLayout372.xml"/><Relationship Id="rId428" Type="http://schemas.openxmlformats.org/officeDocument/2006/relationships/slideLayout" Target="../slideLayouts/slideLayout428.xml"/><Relationship Id="rId232" Type="http://schemas.openxmlformats.org/officeDocument/2006/relationships/slideLayout" Target="../slideLayouts/slideLayout232.xml"/><Relationship Id="rId274" Type="http://schemas.openxmlformats.org/officeDocument/2006/relationships/slideLayout" Target="../slideLayouts/slideLayout274.xml"/><Relationship Id="rId27" Type="http://schemas.openxmlformats.org/officeDocument/2006/relationships/slideLayout" Target="../slideLayouts/slideLayout27.xml"/><Relationship Id="rId69" Type="http://schemas.openxmlformats.org/officeDocument/2006/relationships/slideLayout" Target="../slideLayouts/slideLayout69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76" Type="http://schemas.openxmlformats.org/officeDocument/2006/relationships/slideLayout" Target="../slideLayouts/slideLayout176.xml"/><Relationship Id="rId341" Type="http://schemas.openxmlformats.org/officeDocument/2006/relationships/slideLayout" Target="../slideLayouts/slideLayout341.xml"/><Relationship Id="rId383" Type="http://schemas.openxmlformats.org/officeDocument/2006/relationships/slideLayout" Target="../slideLayouts/slideLayout383.xml"/><Relationship Id="rId439" Type="http://schemas.openxmlformats.org/officeDocument/2006/relationships/slideLayout" Target="../slideLayouts/slideLayout439.xml"/><Relationship Id="rId201" Type="http://schemas.openxmlformats.org/officeDocument/2006/relationships/slideLayout" Target="../slideLayouts/slideLayout201.xml"/><Relationship Id="rId243" Type="http://schemas.openxmlformats.org/officeDocument/2006/relationships/slideLayout" Target="../slideLayouts/slideLayout243.xml"/><Relationship Id="rId285" Type="http://schemas.openxmlformats.org/officeDocument/2006/relationships/slideLayout" Target="../slideLayouts/slideLayout285.xml"/><Relationship Id="rId450" Type="http://schemas.openxmlformats.org/officeDocument/2006/relationships/slideLayout" Target="../slideLayouts/slideLayout450.xml"/><Relationship Id="rId38" Type="http://schemas.openxmlformats.org/officeDocument/2006/relationships/slideLayout" Target="../slideLayouts/slideLayout38.xml"/><Relationship Id="rId103" Type="http://schemas.openxmlformats.org/officeDocument/2006/relationships/slideLayout" Target="../slideLayouts/slideLayout103.xml"/><Relationship Id="rId310" Type="http://schemas.openxmlformats.org/officeDocument/2006/relationships/slideLayout" Target="../slideLayouts/slideLayout31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87" Type="http://schemas.openxmlformats.org/officeDocument/2006/relationships/slideLayout" Target="../slideLayouts/slideLayout187.xml"/><Relationship Id="rId352" Type="http://schemas.openxmlformats.org/officeDocument/2006/relationships/slideLayout" Target="../slideLayouts/slideLayout352.xml"/><Relationship Id="rId394" Type="http://schemas.openxmlformats.org/officeDocument/2006/relationships/slideLayout" Target="../slideLayouts/slideLayout394.xml"/><Relationship Id="rId408" Type="http://schemas.openxmlformats.org/officeDocument/2006/relationships/slideLayout" Target="../slideLayouts/slideLayout408.xml"/><Relationship Id="rId212" Type="http://schemas.openxmlformats.org/officeDocument/2006/relationships/slideLayout" Target="../slideLayouts/slideLayout212.xml"/><Relationship Id="rId254" Type="http://schemas.openxmlformats.org/officeDocument/2006/relationships/slideLayout" Target="../slideLayouts/slideLayout254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296" Type="http://schemas.openxmlformats.org/officeDocument/2006/relationships/slideLayout" Target="../slideLayouts/slideLayout296.xml"/><Relationship Id="rId461" Type="http://schemas.openxmlformats.org/officeDocument/2006/relationships/slideLayout" Target="../slideLayouts/slideLayout461.xml"/><Relationship Id="rId60" Type="http://schemas.openxmlformats.org/officeDocument/2006/relationships/slideLayout" Target="../slideLayouts/slideLayout60.xml"/><Relationship Id="rId156" Type="http://schemas.openxmlformats.org/officeDocument/2006/relationships/slideLayout" Target="../slideLayouts/slideLayout156.xml"/><Relationship Id="rId198" Type="http://schemas.openxmlformats.org/officeDocument/2006/relationships/slideLayout" Target="../slideLayouts/slideLayout198.xml"/><Relationship Id="rId321" Type="http://schemas.openxmlformats.org/officeDocument/2006/relationships/slideLayout" Target="../slideLayouts/slideLayout321.xml"/><Relationship Id="rId363" Type="http://schemas.openxmlformats.org/officeDocument/2006/relationships/slideLayout" Target="../slideLayouts/slideLayout363.xml"/><Relationship Id="rId419" Type="http://schemas.openxmlformats.org/officeDocument/2006/relationships/slideLayout" Target="../slideLayouts/slideLayout419.xml"/><Relationship Id="rId223" Type="http://schemas.openxmlformats.org/officeDocument/2006/relationships/slideLayout" Target="../slideLayouts/slideLayout223.xml"/><Relationship Id="rId430" Type="http://schemas.openxmlformats.org/officeDocument/2006/relationships/slideLayout" Target="../slideLayouts/slideLayout430.xml"/><Relationship Id="rId18" Type="http://schemas.openxmlformats.org/officeDocument/2006/relationships/slideLayout" Target="../slideLayouts/slideLayout18.xml"/><Relationship Id="rId265" Type="http://schemas.openxmlformats.org/officeDocument/2006/relationships/slideLayout" Target="../slideLayouts/slideLayout265.xml"/><Relationship Id="rId125" Type="http://schemas.openxmlformats.org/officeDocument/2006/relationships/slideLayout" Target="../slideLayouts/slideLayout125.xml"/><Relationship Id="rId167" Type="http://schemas.openxmlformats.org/officeDocument/2006/relationships/slideLayout" Target="../slideLayouts/slideLayout167.xml"/><Relationship Id="rId332" Type="http://schemas.openxmlformats.org/officeDocument/2006/relationships/slideLayout" Target="../slideLayouts/slideLayout332.xml"/><Relationship Id="rId374" Type="http://schemas.openxmlformats.org/officeDocument/2006/relationships/slideLayout" Target="../slideLayouts/slideLayout374.xml"/><Relationship Id="rId71" Type="http://schemas.openxmlformats.org/officeDocument/2006/relationships/slideLayout" Target="../slideLayouts/slideLayout71.xml"/><Relationship Id="rId234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76" Type="http://schemas.openxmlformats.org/officeDocument/2006/relationships/slideLayout" Target="../slideLayouts/slideLayout276.xml"/><Relationship Id="rId441" Type="http://schemas.openxmlformats.org/officeDocument/2006/relationships/slideLayout" Target="../slideLayouts/slideLayout441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301" Type="http://schemas.openxmlformats.org/officeDocument/2006/relationships/slideLayout" Target="../slideLayouts/slideLayout301.xml"/><Relationship Id="rId322" Type="http://schemas.openxmlformats.org/officeDocument/2006/relationships/slideLayout" Target="../slideLayouts/slideLayout322.xml"/><Relationship Id="rId343" Type="http://schemas.openxmlformats.org/officeDocument/2006/relationships/slideLayout" Target="../slideLayouts/slideLayout343.xml"/><Relationship Id="rId364" Type="http://schemas.openxmlformats.org/officeDocument/2006/relationships/slideLayout" Target="../slideLayouts/slideLayout364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385" Type="http://schemas.openxmlformats.org/officeDocument/2006/relationships/slideLayout" Target="../slideLayouts/slideLayout385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45" Type="http://schemas.openxmlformats.org/officeDocument/2006/relationships/slideLayout" Target="../slideLayouts/slideLayout245.xml"/><Relationship Id="rId266" Type="http://schemas.openxmlformats.org/officeDocument/2006/relationships/slideLayout" Target="../slideLayouts/slideLayout266.xml"/><Relationship Id="rId287" Type="http://schemas.openxmlformats.org/officeDocument/2006/relationships/slideLayout" Target="../slideLayouts/slideLayout287.xml"/><Relationship Id="rId410" Type="http://schemas.openxmlformats.org/officeDocument/2006/relationships/slideLayout" Target="../slideLayouts/slideLayout410.xml"/><Relationship Id="rId431" Type="http://schemas.openxmlformats.org/officeDocument/2006/relationships/slideLayout" Target="../slideLayouts/slideLayout431.xml"/><Relationship Id="rId452" Type="http://schemas.openxmlformats.org/officeDocument/2006/relationships/slideLayout" Target="../slideLayouts/slideLayout452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312" Type="http://schemas.openxmlformats.org/officeDocument/2006/relationships/slideLayout" Target="../slideLayouts/slideLayout312.xml"/><Relationship Id="rId333" Type="http://schemas.openxmlformats.org/officeDocument/2006/relationships/slideLayout" Target="../slideLayouts/slideLayout333.xml"/><Relationship Id="rId354" Type="http://schemas.openxmlformats.org/officeDocument/2006/relationships/slideLayout" Target="../slideLayouts/slideLayout354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75" Type="http://schemas.openxmlformats.org/officeDocument/2006/relationships/slideLayout" Target="../slideLayouts/slideLayout375.xml"/><Relationship Id="rId396" Type="http://schemas.openxmlformats.org/officeDocument/2006/relationships/slideLayout" Target="../slideLayouts/slideLayout396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35" Type="http://schemas.openxmlformats.org/officeDocument/2006/relationships/slideLayout" Target="../slideLayouts/slideLayout235.xml"/><Relationship Id="rId256" Type="http://schemas.openxmlformats.org/officeDocument/2006/relationships/slideLayout" Target="../slideLayouts/slideLayout256.xml"/><Relationship Id="rId277" Type="http://schemas.openxmlformats.org/officeDocument/2006/relationships/slideLayout" Target="../slideLayouts/slideLayout277.xml"/><Relationship Id="rId298" Type="http://schemas.openxmlformats.org/officeDocument/2006/relationships/slideLayout" Target="../slideLayouts/slideLayout298.xml"/><Relationship Id="rId400" Type="http://schemas.openxmlformats.org/officeDocument/2006/relationships/slideLayout" Target="../slideLayouts/slideLayout400.xml"/><Relationship Id="rId421" Type="http://schemas.openxmlformats.org/officeDocument/2006/relationships/slideLayout" Target="../slideLayouts/slideLayout421.xml"/><Relationship Id="rId442" Type="http://schemas.openxmlformats.org/officeDocument/2006/relationships/slideLayout" Target="../slideLayouts/slideLayout442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302" Type="http://schemas.openxmlformats.org/officeDocument/2006/relationships/slideLayout" Target="../slideLayouts/slideLayout302.xml"/><Relationship Id="rId323" Type="http://schemas.openxmlformats.org/officeDocument/2006/relationships/slideLayout" Target="../slideLayouts/slideLayout323.xml"/><Relationship Id="rId344" Type="http://schemas.openxmlformats.org/officeDocument/2006/relationships/slideLayout" Target="../slideLayouts/slideLayout344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365" Type="http://schemas.openxmlformats.org/officeDocument/2006/relationships/slideLayout" Target="../slideLayouts/slideLayout365.xml"/><Relationship Id="rId386" Type="http://schemas.openxmlformats.org/officeDocument/2006/relationships/slideLayout" Target="../slideLayouts/slideLayout386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5" Type="http://schemas.openxmlformats.org/officeDocument/2006/relationships/slideLayout" Target="../slideLayouts/slideLayout225.xml"/><Relationship Id="rId246" Type="http://schemas.openxmlformats.org/officeDocument/2006/relationships/slideLayout" Target="../slideLayouts/slideLayout246.xml"/><Relationship Id="rId267" Type="http://schemas.openxmlformats.org/officeDocument/2006/relationships/slideLayout" Target="../slideLayouts/slideLayout267.xml"/><Relationship Id="rId288" Type="http://schemas.openxmlformats.org/officeDocument/2006/relationships/slideLayout" Target="../slideLayouts/slideLayout288.xml"/><Relationship Id="rId411" Type="http://schemas.openxmlformats.org/officeDocument/2006/relationships/slideLayout" Target="../slideLayouts/slideLayout411.xml"/><Relationship Id="rId432" Type="http://schemas.openxmlformats.org/officeDocument/2006/relationships/slideLayout" Target="../slideLayouts/slideLayout432.xml"/><Relationship Id="rId453" Type="http://schemas.openxmlformats.org/officeDocument/2006/relationships/slideLayout" Target="../slideLayouts/slideLayout453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313" Type="http://schemas.openxmlformats.org/officeDocument/2006/relationships/slideLayout" Target="../slideLayouts/slideLayout313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169" Type="http://schemas.openxmlformats.org/officeDocument/2006/relationships/slideLayout" Target="../slideLayouts/slideLayout169.xml"/><Relationship Id="rId334" Type="http://schemas.openxmlformats.org/officeDocument/2006/relationships/slideLayout" Target="../slideLayouts/slideLayout334.xml"/><Relationship Id="rId355" Type="http://schemas.openxmlformats.org/officeDocument/2006/relationships/slideLayout" Target="../slideLayouts/slideLayout355.xml"/><Relationship Id="rId376" Type="http://schemas.openxmlformats.org/officeDocument/2006/relationships/slideLayout" Target="../slideLayouts/slideLayout376.xml"/><Relationship Id="rId397" Type="http://schemas.openxmlformats.org/officeDocument/2006/relationships/slideLayout" Target="../slideLayouts/slideLayout397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15" Type="http://schemas.openxmlformats.org/officeDocument/2006/relationships/slideLayout" Target="../slideLayouts/slideLayout215.xml"/><Relationship Id="rId236" Type="http://schemas.openxmlformats.org/officeDocument/2006/relationships/slideLayout" Target="../slideLayouts/slideLayout236.xml"/><Relationship Id="rId257" Type="http://schemas.openxmlformats.org/officeDocument/2006/relationships/slideLayout" Target="../slideLayouts/slideLayout257.xml"/><Relationship Id="rId278" Type="http://schemas.openxmlformats.org/officeDocument/2006/relationships/slideLayout" Target="../slideLayouts/slideLayout278.xml"/><Relationship Id="rId401" Type="http://schemas.openxmlformats.org/officeDocument/2006/relationships/slideLayout" Target="../slideLayouts/slideLayout401.xml"/><Relationship Id="rId422" Type="http://schemas.openxmlformats.org/officeDocument/2006/relationships/slideLayout" Target="../slideLayouts/slideLayout422.xml"/><Relationship Id="rId443" Type="http://schemas.openxmlformats.org/officeDocument/2006/relationships/slideLayout" Target="../slideLayouts/slideLayout443.xml"/><Relationship Id="rId303" Type="http://schemas.openxmlformats.org/officeDocument/2006/relationships/slideLayout" Target="../slideLayouts/slideLayout303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345" Type="http://schemas.openxmlformats.org/officeDocument/2006/relationships/slideLayout" Target="../slideLayouts/slideLayout345.xml"/><Relationship Id="rId387" Type="http://schemas.openxmlformats.org/officeDocument/2006/relationships/slideLayout" Target="../slideLayouts/slideLayout387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412" Type="http://schemas.openxmlformats.org/officeDocument/2006/relationships/slideLayout" Target="../slideLayouts/slideLayout412.xml"/><Relationship Id="rId107" Type="http://schemas.openxmlformats.org/officeDocument/2006/relationships/slideLayout" Target="../slideLayouts/slideLayout107.xml"/><Relationship Id="rId289" Type="http://schemas.openxmlformats.org/officeDocument/2006/relationships/slideLayout" Target="../slideLayouts/slideLayout289.xml"/><Relationship Id="rId454" Type="http://schemas.openxmlformats.org/officeDocument/2006/relationships/slideLayout" Target="../slideLayouts/slideLayout454.xml"/><Relationship Id="rId11" Type="http://schemas.openxmlformats.org/officeDocument/2006/relationships/slideLayout" Target="../slideLayouts/slideLayout11.xml"/><Relationship Id="rId53" Type="http://schemas.openxmlformats.org/officeDocument/2006/relationships/slideLayout" Target="../slideLayouts/slideLayout53.xml"/><Relationship Id="rId149" Type="http://schemas.openxmlformats.org/officeDocument/2006/relationships/slideLayout" Target="../slideLayouts/slideLayout149.xml"/><Relationship Id="rId314" Type="http://schemas.openxmlformats.org/officeDocument/2006/relationships/slideLayout" Target="../slideLayouts/slideLayout314.xml"/><Relationship Id="rId356" Type="http://schemas.openxmlformats.org/officeDocument/2006/relationships/slideLayout" Target="../slideLayouts/slideLayout356.xml"/><Relationship Id="rId398" Type="http://schemas.openxmlformats.org/officeDocument/2006/relationships/slideLayout" Target="../slideLayouts/slideLayout398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16" Type="http://schemas.openxmlformats.org/officeDocument/2006/relationships/slideLayout" Target="../slideLayouts/slideLayout216.xml"/><Relationship Id="rId423" Type="http://schemas.openxmlformats.org/officeDocument/2006/relationships/slideLayout" Target="../slideLayouts/slideLayout423.xml"/><Relationship Id="rId258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2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325" Type="http://schemas.openxmlformats.org/officeDocument/2006/relationships/slideLayout" Target="../slideLayouts/slideLayout325.xml"/><Relationship Id="rId367" Type="http://schemas.openxmlformats.org/officeDocument/2006/relationships/slideLayout" Target="../slideLayouts/slideLayout367.xml"/><Relationship Id="rId171" Type="http://schemas.openxmlformats.org/officeDocument/2006/relationships/slideLayout" Target="../slideLayouts/slideLayout171.xml"/><Relationship Id="rId227" Type="http://schemas.openxmlformats.org/officeDocument/2006/relationships/slideLayout" Target="../slideLayouts/slideLayout227.xml"/><Relationship Id="rId269" Type="http://schemas.openxmlformats.org/officeDocument/2006/relationships/slideLayout" Target="../slideLayouts/slideLayout269.xml"/><Relationship Id="rId434" Type="http://schemas.openxmlformats.org/officeDocument/2006/relationships/slideLayout" Target="../slideLayouts/slideLayout434.xml"/><Relationship Id="rId33" Type="http://schemas.openxmlformats.org/officeDocument/2006/relationships/slideLayout" Target="../slideLayouts/slideLayout33.xml"/><Relationship Id="rId129" Type="http://schemas.openxmlformats.org/officeDocument/2006/relationships/slideLayout" Target="../slideLayouts/slideLayout129.xml"/><Relationship Id="rId280" Type="http://schemas.openxmlformats.org/officeDocument/2006/relationships/slideLayout" Target="../slideLayouts/slideLayout280.xml"/><Relationship Id="rId336" Type="http://schemas.openxmlformats.org/officeDocument/2006/relationships/slideLayout" Target="../slideLayouts/slideLayout336.xml"/><Relationship Id="rId75" Type="http://schemas.openxmlformats.org/officeDocument/2006/relationships/slideLayout" Target="../slideLayouts/slideLayout75.xml"/><Relationship Id="rId140" Type="http://schemas.openxmlformats.org/officeDocument/2006/relationships/slideLayout" Target="../slideLayouts/slideLayout140.xml"/><Relationship Id="rId182" Type="http://schemas.openxmlformats.org/officeDocument/2006/relationships/slideLayout" Target="../slideLayouts/slideLayout182.xml"/><Relationship Id="rId378" Type="http://schemas.openxmlformats.org/officeDocument/2006/relationships/slideLayout" Target="../slideLayouts/slideLayout378.xml"/><Relationship Id="rId403" Type="http://schemas.openxmlformats.org/officeDocument/2006/relationships/slideLayout" Target="../slideLayouts/slideLayout403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445" Type="http://schemas.openxmlformats.org/officeDocument/2006/relationships/slideLayout" Target="../slideLayouts/slideLayout445.xml"/><Relationship Id="rId291" Type="http://schemas.openxmlformats.org/officeDocument/2006/relationships/slideLayout" Target="../slideLayouts/slideLayout291.xml"/><Relationship Id="rId305" Type="http://schemas.openxmlformats.org/officeDocument/2006/relationships/slideLayout" Target="../slideLayouts/slideLayout305.xml"/><Relationship Id="rId347" Type="http://schemas.openxmlformats.org/officeDocument/2006/relationships/slideLayout" Target="../slideLayouts/slideLayout347.xml"/><Relationship Id="rId44" Type="http://schemas.openxmlformats.org/officeDocument/2006/relationships/slideLayout" Target="../slideLayouts/slideLayout44.xml"/><Relationship Id="rId86" Type="http://schemas.openxmlformats.org/officeDocument/2006/relationships/slideLayout" Target="../slideLayouts/slideLayout86.xml"/><Relationship Id="rId151" Type="http://schemas.openxmlformats.org/officeDocument/2006/relationships/slideLayout" Target="../slideLayouts/slideLayout151.xml"/><Relationship Id="rId389" Type="http://schemas.openxmlformats.org/officeDocument/2006/relationships/slideLayout" Target="../slideLayouts/slideLayout389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49" Type="http://schemas.openxmlformats.org/officeDocument/2006/relationships/slideLayout" Target="../slideLayouts/slideLayout249.xml"/><Relationship Id="rId414" Type="http://schemas.openxmlformats.org/officeDocument/2006/relationships/slideLayout" Target="../slideLayouts/slideLayout414.xml"/><Relationship Id="rId456" Type="http://schemas.openxmlformats.org/officeDocument/2006/relationships/slideLayout" Target="../slideLayouts/slideLayout456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16" Type="http://schemas.openxmlformats.org/officeDocument/2006/relationships/slideLayout" Target="../slideLayouts/slideLayout316.xml"/><Relationship Id="rId55" Type="http://schemas.openxmlformats.org/officeDocument/2006/relationships/slideLayout" Target="../slideLayouts/slideLayout55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358" Type="http://schemas.openxmlformats.org/officeDocument/2006/relationships/slideLayout" Target="../slideLayouts/slideLayout358.xml"/><Relationship Id="rId162" Type="http://schemas.openxmlformats.org/officeDocument/2006/relationships/slideLayout" Target="../slideLayouts/slideLayout162.xml"/><Relationship Id="rId218" Type="http://schemas.openxmlformats.org/officeDocument/2006/relationships/slideLayout" Target="../slideLayouts/slideLayout218.xml"/><Relationship Id="rId425" Type="http://schemas.openxmlformats.org/officeDocument/2006/relationships/slideLayout" Target="../slideLayouts/slideLayout425.xml"/><Relationship Id="rId27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4.xml"/><Relationship Id="rId66" Type="http://schemas.openxmlformats.org/officeDocument/2006/relationships/slideLayout" Target="../slideLayouts/slideLayout66.xml"/><Relationship Id="rId131" Type="http://schemas.openxmlformats.org/officeDocument/2006/relationships/slideLayout" Target="../slideLayouts/slideLayout131.xml"/><Relationship Id="rId327" Type="http://schemas.openxmlformats.org/officeDocument/2006/relationships/slideLayout" Target="../slideLayouts/slideLayout327.xml"/><Relationship Id="rId369" Type="http://schemas.openxmlformats.org/officeDocument/2006/relationships/slideLayout" Target="../slideLayouts/slideLayout369.xml"/><Relationship Id="rId173" Type="http://schemas.openxmlformats.org/officeDocument/2006/relationships/slideLayout" Target="../slideLayouts/slideLayout173.xml"/><Relationship Id="rId229" Type="http://schemas.openxmlformats.org/officeDocument/2006/relationships/slideLayout" Target="../slideLayouts/slideLayout229.xml"/><Relationship Id="rId380" Type="http://schemas.openxmlformats.org/officeDocument/2006/relationships/slideLayout" Target="../slideLayouts/slideLayout380.xml"/><Relationship Id="rId436" Type="http://schemas.openxmlformats.org/officeDocument/2006/relationships/slideLayout" Target="../slideLayouts/slideLayout436.xml"/><Relationship Id="rId240" Type="http://schemas.openxmlformats.org/officeDocument/2006/relationships/slideLayout" Target="../slideLayouts/slideLayout240.xml"/><Relationship Id="rId35" Type="http://schemas.openxmlformats.org/officeDocument/2006/relationships/slideLayout" Target="../slideLayouts/slideLayout35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282" Type="http://schemas.openxmlformats.org/officeDocument/2006/relationships/slideLayout" Target="../slideLayouts/slideLayout282.xml"/><Relationship Id="rId338" Type="http://schemas.openxmlformats.org/officeDocument/2006/relationships/slideLayout" Target="../slideLayouts/slideLayout338.xml"/><Relationship Id="rId8" Type="http://schemas.openxmlformats.org/officeDocument/2006/relationships/slideLayout" Target="../slideLayouts/slideLayout8.xml"/><Relationship Id="rId142" Type="http://schemas.openxmlformats.org/officeDocument/2006/relationships/slideLayout" Target="../slideLayouts/slideLayout142.xml"/><Relationship Id="rId184" Type="http://schemas.openxmlformats.org/officeDocument/2006/relationships/slideLayout" Target="../slideLayouts/slideLayout184.xml"/><Relationship Id="rId391" Type="http://schemas.openxmlformats.org/officeDocument/2006/relationships/slideLayout" Target="../slideLayouts/slideLayout391.xml"/><Relationship Id="rId405" Type="http://schemas.openxmlformats.org/officeDocument/2006/relationships/slideLayout" Target="../slideLayouts/slideLayout405.xml"/><Relationship Id="rId447" Type="http://schemas.openxmlformats.org/officeDocument/2006/relationships/slideLayout" Target="../slideLayouts/slideLayout447.xml"/><Relationship Id="rId251" Type="http://schemas.openxmlformats.org/officeDocument/2006/relationships/slideLayout" Target="../slideLayouts/slideLayout251.xml"/><Relationship Id="rId46" Type="http://schemas.openxmlformats.org/officeDocument/2006/relationships/slideLayout" Target="../slideLayouts/slideLayout46.xml"/><Relationship Id="rId293" Type="http://schemas.openxmlformats.org/officeDocument/2006/relationships/slideLayout" Target="../slideLayouts/slideLayout293.xml"/><Relationship Id="rId307" Type="http://schemas.openxmlformats.org/officeDocument/2006/relationships/slideLayout" Target="../slideLayouts/slideLayout307.xml"/><Relationship Id="rId349" Type="http://schemas.openxmlformats.org/officeDocument/2006/relationships/slideLayout" Target="../slideLayouts/slideLayout349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3" Type="http://schemas.openxmlformats.org/officeDocument/2006/relationships/slideLayout" Target="../slideLayouts/slideLayout153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360" Type="http://schemas.openxmlformats.org/officeDocument/2006/relationships/slideLayout" Target="../slideLayouts/slideLayout360.xml"/><Relationship Id="rId416" Type="http://schemas.openxmlformats.org/officeDocument/2006/relationships/slideLayout" Target="../slideLayouts/slideLayout416.xml"/><Relationship Id="rId220" Type="http://schemas.openxmlformats.org/officeDocument/2006/relationships/slideLayout" Target="../slideLayouts/slideLayout220.xml"/><Relationship Id="rId458" Type="http://schemas.openxmlformats.org/officeDocument/2006/relationships/slideLayout" Target="../slideLayouts/slideLayout458.xml"/><Relationship Id="rId15" Type="http://schemas.openxmlformats.org/officeDocument/2006/relationships/slideLayout" Target="../slideLayouts/slideLayout15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318" Type="http://schemas.openxmlformats.org/officeDocument/2006/relationships/slideLayout" Target="../slideLayouts/slideLayout318.xml"/><Relationship Id="rId99" Type="http://schemas.openxmlformats.org/officeDocument/2006/relationships/slideLayout" Target="../slideLayouts/slideLayout99.xml"/><Relationship Id="rId122" Type="http://schemas.openxmlformats.org/officeDocument/2006/relationships/slideLayout" Target="../slideLayouts/slideLayout122.xml"/><Relationship Id="rId164" Type="http://schemas.openxmlformats.org/officeDocument/2006/relationships/slideLayout" Target="../slideLayouts/slideLayout164.xml"/><Relationship Id="rId371" Type="http://schemas.openxmlformats.org/officeDocument/2006/relationships/slideLayout" Target="../slideLayouts/slideLayout371.xml"/><Relationship Id="rId427" Type="http://schemas.openxmlformats.org/officeDocument/2006/relationships/slideLayout" Target="../slideLayouts/slideLayout427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73" Type="http://schemas.openxmlformats.org/officeDocument/2006/relationships/slideLayout" Target="../slideLayouts/slideLayout273.xml"/><Relationship Id="rId329" Type="http://schemas.openxmlformats.org/officeDocument/2006/relationships/slideLayout" Target="../slideLayouts/slideLayout329.xml"/><Relationship Id="rId68" Type="http://schemas.openxmlformats.org/officeDocument/2006/relationships/slideLayout" Target="../slideLayouts/slideLayout68.xml"/><Relationship Id="rId133" Type="http://schemas.openxmlformats.org/officeDocument/2006/relationships/slideLayout" Target="../slideLayouts/slideLayout133.xml"/><Relationship Id="rId175" Type="http://schemas.openxmlformats.org/officeDocument/2006/relationships/slideLayout" Target="../slideLayouts/slideLayout175.xml"/><Relationship Id="rId340" Type="http://schemas.openxmlformats.org/officeDocument/2006/relationships/slideLayout" Target="../slideLayouts/slideLayout340.xml"/><Relationship Id="rId200" Type="http://schemas.openxmlformats.org/officeDocument/2006/relationships/slideLayout" Target="../slideLayouts/slideLayout200.xml"/><Relationship Id="rId382" Type="http://schemas.openxmlformats.org/officeDocument/2006/relationships/slideLayout" Target="../slideLayouts/slideLayout382.xml"/><Relationship Id="rId438" Type="http://schemas.openxmlformats.org/officeDocument/2006/relationships/slideLayout" Target="../slideLayouts/slideLayout438.xml"/><Relationship Id="rId242" Type="http://schemas.openxmlformats.org/officeDocument/2006/relationships/slideLayout" Target="../slideLayouts/slideLayout242.xml"/><Relationship Id="rId284" Type="http://schemas.openxmlformats.org/officeDocument/2006/relationships/slideLayout" Target="../slideLayouts/slideLayout284.xml"/><Relationship Id="rId37" Type="http://schemas.openxmlformats.org/officeDocument/2006/relationships/slideLayout" Target="../slideLayouts/slideLayout37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86" Type="http://schemas.openxmlformats.org/officeDocument/2006/relationships/slideLayout" Target="../slideLayouts/slideLayout186.xml"/><Relationship Id="rId351" Type="http://schemas.openxmlformats.org/officeDocument/2006/relationships/slideLayout" Target="../slideLayouts/slideLayout351.xml"/><Relationship Id="rId393" Type="http://schemas.openxmlformats.org/officeDocument/2006/relationships/slideLayout" Target="../slideLayouts/slideLayout393.xml"/><Relationship Id="rId407" Type="http://schemas.openxmlformats.org/officeDocument/2006/relationships/slideLayout" Target="../slideLayouts/slideLayout407.xml"/><Relationship Id="rId449" Type="http://schemas.openxmlformats.org/officeDocument/2006/relationships/slideLayout" Target="../slideLayouts/slideLayout449.xml"/><Relationship Id="rId211" Type="http://schemas.openxmlformats.org/officeDocument/2006/relationships/slideLayout" Target="../slideLayouts/slideLayout211.xml"/><Relationship Id="rId253" Type="http://schemas.openxmlformats.org/officeDocument/2006/relationships/slideLayout" Target="../slideLayouts/slideLayout253.xml"/><Relationship Id="rId295" Type="http://schemas.openxmlformats.org/officeDocument/2006/relationships/slideLayout" Target="../slideLayouts/slideLayout295.xml"/><Relationship Id="rId309" Type="http://schemas.openxmlformats.org/officeDocument/2006/relationships/slideLayout" Target="../slideLayouts/slideLayout309.xml"/><Relationship Id="rId460" Type="http://schemas.openxmlformats.org/officeDocument/2006/relationships/slideLayout" Target="../slideLayouts/slideLayout460.xml"/><Relationship Id="rId48" Type="http://schemas.openxmlformats.org/officeDocument/2006/relationships/slideLayout" Target="../slideLayouts/slideLayout48.xml"/><Relationship Id="rId113" Type="http://schemas.openxmlformats.org/officeDocument/2006/relationships/slideLayout" Target="../slideLayouts/slideLayout113.xml"/><Relationship Id="rId320" Type="http://schemas.openxmlformats.org/officeDocument/2006/relationships/slideLayout" Target="../slideLayouts/slideLayout320.xml"/><Relationship Id="rId155" Type="http://schemas.openxmlformats.org/officeDocument/2006/relationships/slideLayout" Target="../slideLayouts/slideLayout155.xml"/><Relationship Id="rId197" Type="http://schemas.openxmlformats.org/officeDocument/2006/relationships/slideLayout" Target="../slideLayouts/slideLayout197.xml"/><Relationship Id="rId362" Type="http://schemas.openxmlformats.org/officeDocument/2006/relationships/slideLayout" Target="../slideLayouts/slideLayout362.xml"/><Relationship Id="rId418" Type="http://schemas.openxmlformats.org/officeDocument/2006/relationships/slideLayout" Target="../slideLayouts/slideLayout418.xml"/><Relationship Id="rId222" Type="http://schemas.openxmlformats.org/officeDocument/2006/relationships/slideLayout" Target="../slideLayouts/slideLayout222.xml"/><Relationship Id="rId264" Type="http://schemas.openxmlformats.org/officeDocument/2006/relationships/slideLayout" Target="../slideLayouts/slideLayout264.xml"/><Relationship Id="rId17" Type="http://schemas.openxmlformats.org/officeDocument/2006/relationships/slideLayout" Target="../slideLayouts/slideLayout17.xml"/><Relationship Id="rId59" Type="http://schemas.openxmlformats.org/officeDocument/2006/relationships/slideLayout" Target="../slideLayouts/slideLayout59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166" Type="http://schemas.openxmlformats.org/officeDocument/2006/relationships/slideLayout" Target="../slideLayouts/slideLayout166.xml"/><Relationship Id="rId331" Type="http://schemas.openxmlformats.org/officeDocument/2006/relationships/slideLayout" Target="../slideLayouts/slideLayout331.xml"/><Relationship Id="rId373" Type="http://schemas.openxmlformats.org/officeDocument/2006/relationships/slideLayout" Target="../slideLayouts/slideLayout373.xml"/><Relationship Id="rId429" Type="http://schemas.openxmlformats.org/officeDocument/2006/relationships/slideLayout" Target="../slideLayouts/slideLayout429.xml"/><Relationship Id="rId1" Type="http://schemas.openxmlformats.org/officeDocument/2006/relationships/slideLayout" Target="../slideLayouts/slideLayout1.xml"/><Relationship Id="rId233" Type="http://schemas.openxmlformats.org/officeDocument/2006/relationships/slideLayout" Target="../slideLayouts/slideLayout233.xml"/><Relationship Id="rId440" Type="http://schemas.openxmlformats.org/officeDocument/2006/relationships/slideLayout" Target="../slideLayouts/slideLayout440.xml"/><Relationship Id="rId28" Type="http://schemas.openxmlformats.org/officeDocument/2006/relationships/slideLayout" Target="../slideLayouts/slideLayout28.xml"/><Relationship Id="rId275" Type="http://schemas.openxmlformats.org/officeDocument/2006/relationships/slideLayout" Target="../slideLayouts/slideLayout275.xml"/><Relationship Id="rId300" Type="http://schemas.openxmlformats.org/officeDocument/2006/relationships/slideLayout" Target="../slideLayouts/slideLayout30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77" Type="http://schemas.openxmlformats.org/officeDocument/2006/relationships/slideLayout" Target="../slideLayouts/slideLayout177.xml"/><Relationship Id="rId342" Type="http://schemas.openxmlformats.org/officeDocument/2006/relationships/slideLayout" Target="../slideLayouts/slideLayout342.xml"/><Relationship Id="rId384" Type="http://schemas.openxmlformats.org/officeDocument/2006/relationships/slideLayout" Target="../slideLayouts/slideLayout384.xml"/><Relationship Id="rId202" Type="http://schemas.openxmlformats.org/officeDocument/2006/relationships/slideLayout" Target="../slideLayouts/slideLayout202.xml"/><Relationship Id="rId244" Type="http://schemas.openxmlformats.org/officeDocument/2006/relationships/slideLayout" Target="../slideLayouts/slideLayout244.xml"/><Relationship Id="rId39" Type="http://schemas.openxmlformats.org/officeDocument/2006/relationships/slideLayout" Target="../slideLayouts/slideLayout39.xml"/><Relationship Id="rId286" Type="http://schemas.openxmlformats.org/officeDocument/2006/relationships/slideLayout" Target="../slideLayouts/slideLayout286.xml"/><Relationship Id="rId451" Type="http://schemas.openxmlformats.org/officeDocument/2006/relationships/slideLayout" Target="../slideLayouts/slideLayout451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46" Type="http://schemas.openxmlformats.org/officeDocument/2006/relationships/slideLayout" Target="../slideLayouts/slideLayout146.xml"/><Relationship Id="rId188" Type="http://schemas.openxmlformats.org/officeDocument/2006/relationships/slideLayout" Target="../slideLayouts/slideLayout188.xml"/><Relationship Id="rId311" Type="http://schemas.openxmlformats.org/officeDocument/2006/relationships/slideLayout" Target="../slideLayouts/slideLayout311.xml"/><Relationship Id="rId353" Type="http://schemas.openxmlformats.org/officeDocument/2006/relationships/slideLayout" Target="../slideLayouts/slideLayout353.xml"/><Relationship Id="rId395" Type="http://schemas.openxmlformats.org/officeDocument/2006/relationships/slideLayout" Target="../slideLayouts/slideLayout395.xml"/><Relationship Id="rId409" Type="http://schemas.openxmlformats.org/officeDocument/2006/relationships/slideLayout" Target="../slideLayouts/slideLayout409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420" Type="http://schemas.openxmlformats.org/officeDocument/2006/relationships/slideLayout" Target="../slideLayouts/slideLayout420.xml"/><Relationship Id="rId255" Type="http://schemas.openxmlformats.org/officeDocument/2006/relationships/slideLayout" Target="../slideLayouts/slideLayout255.xml"/><Relationship Id="rId297" Type="http://schemas.openxmlformats.org/officeDocument/2006/relationships/slideLayout" Target="../slideLayouts/slideLayout297.xml"/><Relationship Id="rId46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9.xml"/><Relationship Id="rId3" Type="http://schemas.openxmlformats.org/officeDocument/2006/relationships/slideLayout" Target="../slideLayouts/slideLayout464.xml"/><Relationship Id="rId7" Type="http://schemas.openxmlformats.org/officeDocument/2006/relationships/slideLayout" Target="../slideLayouts/slideLayout46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63.xml"/><Relationship Id="rId1" Type="http://schemas.openxmlformats.org/officeDocument/2006/relationships/slideLayout" Target="../slideLayouts/slideLayout462.xml"/><Relationship Id="rId6" Type="http://schemas.openxmlformats.org/officeDocument/2006/relationships/slideLayout" Target="../slideLayouts/slideLayout467.xml"/><Relationship Id="rId11" Type="http://schemas.openxmlformats.org/officeDocument/2006/relationships/slideLayout" Target="../slideLayouts/slideLayout472.xml"/><Relationship Id="rId5" Type="http://schemas.openxmlformats.org/officeDocument/2006/relationships/slideLayout" Target="../slideLayouts/slideLayout466.xml"/><Relationship Id="rId10" Type="http://schemas.openxmlformats.org/officeDocument/2006/relationships/slideLayout" Target="../slideLayouts/slideLayout471.xml"/><Relationship Id="rId4" Type="http://schemas.openxmlformats.org/officeDocument/2006/relationships/slideLayout" Target="../slideLayouts/slideLayout465.xml"/><Relationship Id="rId9" Type="http://schemas.openxmlformats.org/officeDocument/2006/relationships/slideLayout" Target="../slideLayouts/slideLayout47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75.xml"/><Relationship Id="rId7" Type="http://schemas.openxmlformats.org/officeDocument/2006/relationships/slideLayout" Target="../slideLayouts/slideLayout479.xml"/><Relationship Id="rId12" Type="http://schemas.openxmlformats.org/officeDocument/2006/relationships/slideLayout" Target="../slideLayouts/slideLayout484.xml"/><Relationship Id="rId2" Type="http://schemas.openxmlformats.org/officeDocument/2006/relationships/slideLayout" Target="../slideLayouts/slideLayout474.xml"/><Relationship Id="rId1" Type="http://schemas.openxmlformats.org/officeDocument/2006/relationships/slideLayout" Target="../slideLayouts/slideLayout473.xml"/><Relationship Id="rId6" Type="http://schemas.openxmlformats.org/officeDocument/2006/relationships/slideLayout" Target="../slideLayouts/slideLayout478.xml"/><Relationship Id="rId11" Type="http://schemas.openxmlformats.org/officeDocument/2006/relationships/slideLayout" Target="../slideLayouts/slideLayout483.xml"/><Relationship Id="rId5" Type="http://schemas.openxmlformats.org/officeDocument/2006/relationships/slideLayout" Target="../slideLayouts/slideLayout477.xml"/><Relationship Id="rId10" Type="http://schemas.openxmlformats.org/officeDocument/2006/relationships/slideLayout" Target="../slideLayouts/slideLayout482.xml"/><Relationship Id="rId4" Type="http://schemas.openxmlformats.org/officeDocument/2006/relationships/slideLayout" Target="../slideLayouts/slideLayout476.xml"/><Relationship Id="rId9" Type="http://schemas.openxmlformats.org/officeDocument/2006/relationships/slideLayout" Target="../slideLayouts/slideLayout48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2.xml"/><Relationship Id="rId3" Type="http://schemas.openxmlformats.org/officeDocument/2006/relationships/slideLayout" Target="../slideLayouts/slideLayout487.xml"/><Relationship Id="rId7" Type="http://schemas.openxmlformats.org/officeDocument/2006/relationships/slideLayout" Target="../slideLayouts/slideLayout49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86.xml"/><Relationship Id="rId1" Type="http://schemas.openxmlformats.org/officeDocument/2006/relationships/slideLayout" Target="../slideLayouts/slideLayout485.xml"/><Relationship Id="rId6" Type="http://schemas.openxmlformats.org/officeDocument/2006/relationships/slideLayout" Target="../slideLayouts/slideLayout490.xml"/><Relationship Id="rId11" Type="http://schemas.openxmlformats.org/officeDocument/2006/relationships/slideLayout" Target="../slideLayouts/slideLayout495.xml"/><Relationship Id="rId5" Type="http://schemas.openxmlformats.org/officeDocument/2006/relationships/slideLayout" Target="../slideLayouts/slideLayout489.xml"/><Relationship Id="rId10" Type="http://schemas.openxmlformats.org/officeDocument/2006/relationships/slideLayout" Target="../slideLayouts/slideLayout494.xml"/><Relationship Id="rId4" Type="http://schemas.openxmlformats.org/officeDocument/2006/relationships/slideLayout" Target="../slideLayouts/slideLayout488.xml"/><Relationship Id="rId9" Type="http://schemas.openxmlformats.org/officeDocument/2006/relationships/slideLayout" Target="../slideLayouts/slideLayout49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3.xml"/><Relationship Id="rId13" Type="http://schemas.openxmlformats.org/officeDocument/2006/relationships/slideLayout" Target="../slideLayouts/slideLayout508.xml"/><Relationship Id="rId3" Type="http://schemas.openxmlformats.org/officeDocument/2006/relationships/slideLayout" Target="../slideLayouts/slideLayout498.xml"/><Relationship Id="rId7" Type="http://schemas.openxmlformats.org/officeDocument/2006/relationships/slideLayout" Target="../slideLayouts/slideLayout502.xml"/><Relationship Id="rId12" Type="http://schemas.openxmlformats.org/officeDocument/2006/relationships/slideLayout" Target="../slideLayouts/slideLayout507.xml"/><Relationship Id="rId2" Type="http://schemas.openxmlformats.org/officeDocument/2006/relationships/slideLayout" Target="../slideLayouts/slideLayout497.xml"/><Relationship Id="rId1" Type="http://schemas.openxmlformats.org/officeDocument/2006/relationships/slideLayout" Target="../slideLayouts/slideLayout496.xml"/><Relationship Id="rId6" Type="http://schemas.openxmlformats.org/officeDocument/2006/relationships/slideLayout" Target="../slideLayouts/slideLayout501.xml"/><Relationship Id="rId11" Type="http://schemas.openxmlformats.org/officeDocument/2006/relationships/slideLayout" Target="../slideLayouts/slideLayout506.xml"/><Relationship Id="rId5" Type="http://schemas.openxmlformats.org/officeDocument/2006/relationships/slideLayout" Target="../slideLayouts/slideLayout500.xml"/><Relationship Id="rId10" Type="http://schemas.openxmlformats.org/officeDocument/2006/relationships/slideLayout" Target="../slideLayouts/slideLayout505.xml"/><Relationship Id="rId4" Type="http://schemas.openxmlformats.org/officeDocument/2006/relationships/slideLayout" Target="../slideLayouts/slideLayout499.xml"/><Relationship Id="rId9" Type="http://schemas.openxmlformats.org/officeDocument/2006/relationships/slideLayout" Target="../slideLayouts/slideLayout504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8" r:id="rId1"/>
    <p:sldLayoutId id="2147487029" r:id="rId2"/>
    <p:sldLayoutId id="2147487030" r:id="rId3"/>
    <p:sldLayoutId id="2147487031" r:id="rId4"/>
    <p:sldLayoutId id="2147487032" r:id="rId5"/>
    <p:sldLayoutId id="2147487033" r:id="rId6"/>
    <p:sldLayoutId id="2147487034" r:id="rId7"/>
    <p:sldLayoutId id="2147487035" r:id="rId8"/>
    <p:sldLayoutId id="2147487036" r:id="rId9"/>
    <p:sldLayoutId id="2147487037" r:id="rId10"/>
    <p:sldLayoutId id="2147487038" r:id="rId11"/>
    <p:sldLayoutId id="2147487178" r:id="rId12"/>
    <p:sldLayoutId id="2147487179" r:id="rId13"/>
    <p:sldLayoutId id="2147487180" r:id="rId14"/>
    <p:sldLayoutId id="2147487039" r:id="rId15"/>
    <p:sldLayoutId id="2147487182" r:id="rId16"/>
    <p:sldLayoutId id="2147487183" r:id="rId17"/>
    <p:sldLayoutId id="2147487184" r:id="rId18"/>
    <p:sldLayoutId id="2147487185" r:id="rId19"/>
    <p:sldLayoutId id="2147487040" r:id="rId20"/>
    <p:sldLayoutId id="2147487041" r:id="rId21"/>
    <p:sldLayoutId id="2147487188" r:id="rId22"/>
    <p:sldLayoutId id="2147487189" r:id="rId23"/>
    <p:sldLayoutId id="2147487190" r:id="rId24"/>
    <p:sldLayoutId id="2147487042" r:id="rId25"/>
    <p:sldLayoutId id="2147487192" r:id="rId26"/>
    <p:sldLayoutId id="2147487193" r:id="rId27"/>
    <p:sldLayoutId id="2147487043" r:id="rId28"/>
    <p:sldLayoutId id="2147487044" r:id="rId29"/>
    <p:sldLayoutId id="2147487045" r:id="rId30"/>
    <p:sldLayoutId id="2147487046" r:id="rId31"/>
    <p:sldLayoutId id="2147487047" r:id="rId32"/>
    <p:sldLayoutId id="2147487048" r:id="rId33"/>
    <p:sldLayoutId id="2147487049" r:id="rId34"/>
    <p:sldLayoutId id="2147487050" r:id="rId35"/>
    <p:sldLayoutId id="2147487051" r:id="rId36"/>
    <p:sldLayoutId id="2147487052" r:id="rId37"/>
    <p:sldLayoutId id="2147487053" r:id="rId38"/>
    <p:sldLayoutId id="2147487205" r:id="rId39"/>
    <p:sldLayoutId id="2147487207" r:id="rId40"/>
    <p:sldLayoutId id="2147487208" r:id="rId41"/>
    <p:sldLayoutId id="2147487209" r:id="rId42"/>
    <p:sldLayoutId id="2147487210" r:id="rId43"/>
    <p:sldLayoutId id="2147487211" r:id="rId44"/>
    <p:sldLayoutId id="2147487212" r:id="rId45"/>
    <p:sldLayoutId id="2147487213" r:id="rId46"/>
    <p:sldLayoutId id="2147487214" r:id="rId47"/>
    <p:sldLayoutId id="2147487215" r:id="rId48"/>
    <p:sldLayoutId id="2147487225" r:id="rId49"/>
    <p:sldLayoutId id="2147487226" r:id="rId50"/>
    <p:sldLayoutId id="2147487227" r:id="rId51"/>
    <p:sldLayoutId id="2147487228" r:id="rId52"/>
    <p:sldLayoutId id="2147487229" r:id="rId53"/>
    <p:sldLayoutId id="2147487058" r:id="rId54"/>
    <p:sldLayoutId id="2147487231" r:id="rId55"/>
    <p:sldLayoutId id="2147487232" r:id="rId56"/>
    <p:sldLayoutId id="2147487233" r:id="rId57"/>
    <p:sldLayoutId id="2147487234" r:id="rId58"/>
    <p:sldLayoutId id="2147487235" r:id="rId59"/>
    <p:sldLayoutId id="2147487236" r:id="rId60"/>
    <p:sldLayoutId id="2147487237" r:id="rId61"/>
    <p:sldLayoutId id="2147487059" r:id="rId62"/>
    <p:sldLayoutId id="2147487060" r:id="rId63"/>
    <p:sldLayoutId id="2147487061" r:id="rId64"/>
    <p:sldLayoutId id="2147487062" r:id="rId65"/>
    <p:sldLayoutId id="2147487242" r:id="rId66"/>
    <p:sldLayoutId id="2147487063" r:id="rId67"/>
    <p:sldLayoutId id="2147487244" r:id="rId68"/>
    <p:sldLayoutId id="2147487245" r:id="rId69"/>
    <p:sldLayoutId id="2147487246" r:id="rId70"/>
    <p:sldLayoutId id="2147487064" r:id="rId71"/>
    <p:sldLayoutId id="2147487248" r:id="rId72"/>
    <p:sldLayoutId id="2147487249" r:id="rId73"/>
    <p:sldLayoutId id="2147487250" r:id="rId74"/>
    <p:sldLayoutId id="2147487251" r:id="rId75"/>
    <p:sldLayoutId id="2147487252" r:id="rId76"/>
    <p:sldLayoutId id="2147487253" r:id="rId77"/>
    <p:sldLayoutId id="2147487065" r:id="rId78"/>
    <p:sldLayoutId id="2147487066" r:id="rId79"/>
    <p:sldLayoutId id="2147487067" r:id="rId80"/>
    <p:sldLayoutId id="2147487068" r:id="rId81"/>
    <p:sldLayoutId id="2147487069" r:id="rId82"/>
    <p:sldLayoutId id="2147487070" r:id="rId83"/>
    <p:sldLayoutId id="2147487071" r:id="rId84"/>
    <p:sldLayoutId id="2147487072" r:id="rId85"/>
    <p:sldLayoutId id="2147487073" r:id="rId86"/>
    <p:sldLayoutId id="2147487074" r:id="rId87"/>
    <p:sldLayoutId id="2147487075" r:id="rId88"/>
    <p:sldLayoutId id="2147487155" r:id="rId89"/>
    <p:sldLayoutId id="2147487265" r:id="rId90"/>
    <p:sldLayoutId id="2147487266" r:id="rId91"/>
    <p:sldLayoutId id="2147487076" r:id="rId92"/>
    <p:sldLayoutId id="2147487078" r:id="rId93"/>
    <p:sldLayoutId id="2147487270" r:id="rId94"/>
    <p:sldLayoutId id="2147487271" r:id="rId95"/>
    <p:sldLayoutId id="2147487272" r:id="rId96"/>
    <p:sldLayoutId id="2147487273" r:id="rId97"/>
    <p:sldLayoutId id="2147487274" r:id="rId98"/>
    <p:sldLayoutId id="2147487275" r:id="rId99"/>
    <p:sldLayoutId id="2147487276" r:id="rId100"/>
    <p:sldLayoutId id="2147487277" r:id="rId101"/>
    <p:sldLayoutId id="2147487079" r:id="rId102"/>
    <p:sldLayoutId id="2147487080" r:id="rId103"/>
    <p:sldLayoutId id="2147487081" r:id="rId104"/>
    <p:sldLayoutId id="2147487082" r:id="rId105"/>
    <p:sldLayoutId id="2147487083" r:id="rId106"/>
    <p:sldLayoutId id="2147487084" r:id="rId107"/>
    <p:sldLayoutId id="2147487085" r:id="rId108"/>
    <p:sldLayoutId id="2147487086" r:id="rId109"/>
    <p:sldLayoutId id="2147487311" r:id="rId110"/>
    <p:sldLayoutId id="2147487096" r:id="rId111"/>
    <p:sldLayoutId id="2147487098" r:id="rId112"/>
    <p:sldLayoutId id="2147487099" r:id="rId113"/>
    <p:sldLayoutId id="2147487104" r:id="rId114"/>
    <p:sldLayoutId id="2147487326" r:id="rId115"/>
    <p:sldLayoutId id="2147487105" r:id="rId116"/>
    <p:sldLayoutId id="2147487106" r:id="rId117"/>
    <p:sldLayoutId id="2147487107" r:id="rId118"/>
    <p:sldLayoutId id="2147487108" r:id="rId119"/>
    <p:sldLayoutId id="2147487109" r:id="rId120"/>
    <p:sldLayoutId id="2147487110" r:id="rId121"/>
    <p:sldLayoutId id="2147487111" r:id="rId122"/>
    <p:sldLayoutId id="2147487112" r:id="rId123"/>
    <p:sldLayoutId id="2147487113" r:id="rId124"/>
    <p:sldLayoutId id="2147487118" r:id="rId125"/>
    <p:sldLayoutId id="2147487119" r:id="rId126"/>
    <p:sldLayoutId id="2147487120" r:id="rId127"/>
    <p:sldLayoutId id="2147487121" r:id="rId128"/>
    <p:sldLayoutId id="2147487122" r:id="rId129"/>
    <p:sldLayoutId id="2147487123" r:id="rId130"/>
    <p:sldLayoutId id="2147487346" r:id="rId131"/>
    <p:sldLayoutId id="2147487124" r:id="rId132"/>
    <p:sldLayoutId id="2147487348" r:id="rId133"/>
    <p:sldLayoutId id="2147487349" r:id="rId134"/>
    <p:sldLayoutId id="2147483847" r:id="rId135"/>
    <p:sldLayoutId id="2147483848" r:id="rId136"/>
    <p:sldLayoutId id="2147483849" r:id="rId137"/>
    <p:sldLayoutId id="2147483850" r:id="rId138"/>
    <p:sldLayoutId id="2147483862" r:id="rId139"/>
    <p:sldLayoutId id="2147483863" r:id="rId140"/>
    <p:sldLayoutId id="2147483864" r:id="rId141"/>
    <p:sldLayoutId id="2147483865" r:id="rId142"/>
    <p:sldLayoutId id="2147483866" r:id="rId143"/>
    <p:sldLayoutId id="2147483867" r:id="rId144"/>
    <p:sldLayoutId id="2147483868" r:id="rId145"/>
    <p:sldLayoutId id="2147483869" r:id="rId146"/>
    <p:sldLayoutId id="2147483870" r:id="rId147"/>
    <p:sldLayoutId id="2147483871" r:id="rId148"/>
    <p:sldLayoutId id="2147483872" r:id="rId149"/>
    <p:sldLayoutId id="2147483875" r:id="rId150"/>
    <p:sldLayoutId id="2147483876" r:id="rId151"/>
    <p:sldLayoutId id="2147483877" r:id="rId152"/>
    <p:sldLayoutId id="2147483878" r:id="rId153"/>
    <p:sldLayoutId id="2147483879" r:id="rId154"/>
    <p:sldLayoutId id="2147483880" r:id="rId155"/>
    <p:sldLayoutId id="2147483881" r:id="rId156"/>
    <p:sldLayoutId id="2147483882" r:id="rId157"/>
    <p:sldLayoutId id="2147483884" r:id="rId158"/>
    <p:sldLayoutId id="2147483885" r:id="rId159"/>
    <p:sldLayoutId id="2147483886" r:id="rId160"/>
    <p:sldLayoutId id="2147483887" r:id="rId161"/>
    <p:sldLayoutId id="2147483888" r:id="rId162"/>
    <p:sldLayoutId id="2147483889" r:id="rId163"/>
    <p:sldLayoutId id="2147483890" r:id="rId164"/>
    <p:sldLayoutId id="2147483891" r:id="rId165"/>
    <p:sldLayoutId id="2147483892" r:id="rId166"/>
    <p:sldLayoutId id="2147483893" r:id="rId167"/>
    <p:sldLayoutId id="2147483894" r:id="rId168"/>
    <p:sldLayoutId id="2147483896" r:id="rId169"/>
    <p:sldLayoutId id="2147483897" r:id="rId170"/>
    <p:sldLayoutId id="2147483898" r:id="rId171"/>
    <p:sldLayoutId id="2147483899" r:id="rId172"/>
    <p:sldLayoutId id="2147483900" r:id="rId173"/>
    <p:sldLayoutId id="2147483901" r:id="rId174"/>
    <p:sldLayoutId id="2147483902" r:id="rId175"/>
    <p:sldLayoutId id="2147483903" r:id="rId176"/>
    <p:sldLayoutId id="2147487126" r:id="rId177"/>
    <p:sldLayoutId id="2147487128" r:id="rId178"/>
    <p:sldLayoutId id="2147487127" r:id="rId179"/>
    <p:sldLayoutId id="2147487132" r:id="rId180"/>
    <p:sldLayoutId id="2147487133" r:id="rId181"/>
    <p:sldLayoutId id="2147487134" r:id="rId182"/>
    <p:sldLayoutId id="2147487135" r:id="rId183"/>
    <p:sldLayoutId id="2147487136" r:id="rId184"/>
    <p:sldLayoutId id="2147487137" r:id="rId185"/>
    <p:sldLayoutId id="2147487138" r:id="rId186"/>
    <p:sldLayoutId id="2147487139" r:id="rId187"/>
    <p:sldLayoutId id="2147487140" r:id="rId188"/>
    <p:sldLayoutId id="2147487141" r:id="rId189"/>
    <p:sldLayoutId id="2147483934" r:id="rId190"/>
    <p:sldLayoutId id="2147483935" r:id="rId191"/>
    <p:sldLayoutId id="2147483936" r:id="rId192"/>
    <p:sldLayoutId id="2147483735" r:id="rId193"/>
    <p:sldLayoutId id="2147486987" r:id="rId194"/>
    <p:sldLayoutId id="2147487355" r:id="rId195"/>
    <p:sldLayoutId id="2147487369" r:id="rId196"/>
    <p:sldLayoutId id="2147487356" r:id="rId197"/>
    <p:sldLayoutId id="2147487357" r:id="rId198"/>
    <p:sldLayoutId id="2147487358" r:id="rId199"/>
    <p:sldLayoutId id="2147485074" r:id="rId200"/>
    <p:sldLayoutId id="2147485075" r:id="rId201"/>
    <p:sldLayoutId id="2147485076" r:id="rId202"/>
    <p:sldLayoutId id="2147485077" r:id="rId203"/>
    <p:sldLayoutId id="2147485078" r:id="rId204"/>
    <p:sldLayoutId id="2147484851" r:id="rId205"/>
    <p:sldLayoutId id="2147487362" r:id="rId206"/>
    <p:sldLayoutId id="2147487360" r:id="rId207"/>
    <p:sldLayoutId id="2147483736" r:id="rId208"/>
    <p:sldLayoutId id="2147487359" r:id="rId209"/>
    <p:sldLayoutId id="2147487361" r:id="rId210"/>
    <p:sldLayoutId id="2147484627" r:id="rId211"/>
    <p:sldLayoutId id="2147485879" r:id="rId212"/>
    <p:sldLayoutId id="2147484838" r:id="rId213"/>
    <p:sldLayoutId id="2147485857" r:id="rId214"/>
    <p:sldLayoutId id="2147485858" r:id="rId215"/>
    <p:sldLayoutId id="2147485859" r:id="rId216"/>
    <p:sldLayoutId id="2147485860" r:id="rId217"/>
    <p:sldLayoutId id="2147485861" r:id="rId218"/>
    <p:sldLayoutId id="2147484634" r:id="rId219"/>
    <p:sldLayoutId id="2147484635" r:id="rId220"/>
    <p:sldLayoutId id="2147484238" r:id="rId221"/>
    <p:sldLayoutId id="2147486915" r:id="rId222"/>
    <p:sldLayoutId id="2147484840" r:id="rId223"/>
    <p:sldLayoutId id="2147486917" r:id="rId224"/>
    <p:sldLayoutId id="2147484203" r:id="rId225"/>
    <p:sldLayoutId id="2147484204" r:id="rId226"/>
    <p:sldLayoutId id="2147484205" r:id="rId227"/>
    <p:sldLayoutId id="2147484206" r:id="rId228"/>
    <p:sldLayoutId id="2147484237" r:id="rId229"/>
    <p:sldLayoutId id="2147484208" r:id="rId230"/>
    <p:sldLayoutId id="2147485064" r:id="rId231"/>
    <p:sldLayoutId id="2147485065" r:id="rId232"/>
    <p:sldLayoutId id="2147486965" r:id="rId233"/>
    <p:sldLayoutId id="2147485066" r:id="rId234"/>
    <p:sldLayoutId id="2147485067" r:id="rId235"/>
    <p:sldLayoutId id="2147485068" r:id="rId236"/>
    <p:sldLayoutId id="2147485069" r:id="rId237"/>
    <p:sldLayoutId id="2147485352" r:id="rId238"/>
    <p:sldLayoutId id="2147485070" r:id="rId239"/>
    <p:sldLayoutId id="2147486030" r:id="rId240"/>
    <p:sldLayoutId id="2147485071" r:id="rId241"/>
    <p:sldLayoutId id="2147487168" r:id="rId242"/>
    <p:sldLayoutId id="2147484626" r:id="rId243"/>
    <p:sldLayoutId id="2147484836" r:id="rId244"/>
    <p:sldLayoutId id="2147484837" r:id="rId245"/>
    <p:sldLayoutId id="2147487169" r:id="rId246"/>
    <p:sldLayoutId id="2147484602" r:id="rId247"/>
    <p:sldLayoutId id="2147484603" r:id="rId248"/>
    <p:sldLayoutId id="2147484604" r:id="rId249"/>
    <p:sldLayoutId id="2147484839" r:id="rId250"/>
    <p:sldLayoutId id="2147485847" r:id="rId251"/>
    <p:sldLayoutId id="2147485848" r:id="rId252"/>
    <p:sldLayoutId id="2147485849" r:id="rId253"/>
    <p:sldLayoutId id="2147485850" r:id="rId254"/>
    <p:sldLayoutId id="2147485851" r:id="rId255"/>
    <p:sldLayoutId id="2147485852" r:id="rId256"/>
    <p:sldLayoutId id="2147485853" r:id="rId257"/>
    <p:sldLayoutId id="2147485854" r:id="rId258"/>
    <p:sldLayoutId id="2147485855" r:id="rId259"/>
    <p:sldLayoutId id="2147485856" r:id="rId260"/>
    <p:sldLayoutId id="2147484384" r:id="rId261"/>
    <p:sldLayoutId id="2147485405" r:id="rId262"/>
    <p:sldLayoutId id="2147484559" r:id="rId263"/>
    <p:sldLayoutId id="2147484385" r:id="rId264"/>
    <p:sldLayoutId id="2147485406" r:id="rId265"/>
    <p:sldLayoutId id="2147484387" r:id="rId266"/>
    <p:sldLayoutId id="2147484388" r:id="rId267"/>
    <p:sldLayoutId id="2147484389" r:id="rId268"/>
    <p:sldLayoutId id="2147484390" r:id="rId269"/>
    <p:sldLayoutId id="2147484391" r:id="rId270"/>
    <p:sldLayoutId id="2147484392" r:id="rId271"/>
    <p:sldLayoutId id="2147486200" r:id="rId272"/>
    <p:sldLayoutId id="2147485878" r:id="rId273"/>
    <p:sldLayoutId id="2147484654" r:id="rId274"/>
    <p:sldLayoutId id="2147484655" r:id="rId275"/>
    <p:sldLayoutId id="2147484608" r:id="rId276"/>
    <p:sldLayoutId id="2147485213" r:id="rId277"/>
    <p:sldLayoutId id="2147485214" r:id="rId278"/>
    <p:sldLayoutId id="2147485179" r:id="rId279"/>
    <p:sldLayoutId id="2147486360" r:id="rId280"/>
    <p:sldLayoutId id="2147485556" r:id="rId281"/>
    <p:sldLayoutId id="2147486361" r:id="rId282"/>
    <p:sldLayoutId id="2147484335" r:id="rId283"/>
    <p:sldLayoutId id="2147484336" r:id="rId284"/>
    <p:sldLayoutId id="2147484337" r:id="rId285"/>
    <p:sldLayoutId id="2147484853" r:id="rId286"/>
    <p:sldLayoutId id="2147484339" r:id="rId287"/>
    <p:sldLayoutId id="2147484340" r:id="rId288"/>
    <p:sldLayoutId id="2147484341" r:id="rId289"/>
    <p:sldLayoutId id="2147484342" r:id="rId290"/>
    <p:sldLayoutId id="2147484343" r:id="rId291"/>
    <p:sldLayoutId id="2147484344" r:id="rId292"/>
    <p:sldLayoutId id="2147485468" r:id="rId293"/>
    <p:sldLayoutId id="2147485865" r:id="rId294"/>
    <p:sldLayoutId id="2147484364" r:id="rId295"/>
    <p:sldLayoutId id="2147485358" r:id="rId296"/>
    <p:sldLayoutId id="2147485868" r:id="rId297"/>
    <p:sldLayoutId id="2147485869" r:id="rId298"/>
    <p:sldLayoutId id="2147485870" r:id="rId299"/>
    <p:sldLayoutId id="2147485385" r:id="rId300"/>
    <p:sldLayoutId id="2147485871" r:id="rId301"/>
    <p:sldLayoutId id="2147485469" r:id="rId302"/>
    <p:sldLayoutId id="2147484222" r:id="rId303"/>
    <p:sldLayoutId id="2147484854" r:id="rId304"/>
    <p:sldLayoutId id="2147485079" r:id="rId305"/>
    <p:sldLayoutId id="2147485080" r:id="rId306"/>
    <p:sldLayoutId id="2147485081" r:id="rId307"/>
    <p:sldLayoutId id="2147485082" r:id="rId308"/>
    <p:sldLayoutId id="2147485083" r:id="rId309"/>
    <p:sldLayoutId id="2147484596" r:id="rId310"/>
    <p:sldLayoutId id="2147484835" r:id="rId311"/>
    <p:sldLayoutId id="2147484852" r:id="rId312"/>
    <p:sldLayoutId id="2147485093" r:id="rId313"/>
    <p:sldLayoutId id="2147485072" r:id="rId314"/>
    <p:sldLayoutId id="2147485355" r:id="rId315"/>
    <p:sldLayoutId id="2147484355" r:id="rId316"/>
    <p:sldLayoutId id="2147485444" r:id="rId317"/>
    <p:sldLayoutId id="2147484356" r:id="rId318"/>
    <p:sldLayoutId id="2147483860" r:id="rId319"/>
    <p:sldLayoutId id="2147484357" r:id="rId320"/>
    <p:sldLayoutId id="2147484358" r:id="rId321"/>
    <p:sldLayoutId id="2147484359" r:id="rId322"/>
    <p:sldLayoutId id="2147484360" r:id="rId323"/>
    <p:sldLayoutId id="2147484361" r:id="rId324"/>
    <p:sldLayoutId id="2147484393" r:id="rId325"/>
    <p:sldLayoutId id="2147484394" r:id="rId326"/>
    <p:sldLayoutId id="2147484845" r:id="rId327"/>
    <p:sldLayoutId id="2147484846" r:id="rId328"/>
    <p:sldLayoutId id="2147484566" r:id="rId329"/>
    <p:sldLayoutId id="2147485470" r:id="rId330"/>
    <p:sldLayoutId id="2147484231" r:id="rId331"/>
    <p:sldLayoutId id="2147484268" r:id="rId332"/>
    <p:sldLayoutId id="2147484235" r:id="rId333"/>
    <p:sldLayoutId id="2147484847" r:id="rId334"/>
    <p:sldLayoutId id="2147484245" r:id="rId335"/>
    <p:sldLayoutId id="2147484262" r:id="rId336"/>
    <p:sldLayoutId id="2147486955" r:id="rId337"/>
    <p:sldLayoutId id="2147485238" r:id="rId338"/>
    <p:sldLayoutId id="2147486956" r:id="rId339"/>
    <p:sldLayoutId id="2147484233" r:id="rId340"/>
    <p:sldLayoutId id="2147484821" r:id="rId341"/>
    <p:sldLayoutId id="2147486952" r:id="rId342"/>
    <p:sldLayoutId id="2147485239" r:id="rId343"/>
    <p:sldLayoutId id="2147484848" r:id="rId344"/>
    <p:sldLayoutId id="2147486048" r:id="rId345"/>
    <p:sldLayoutId id="2147486954" r:id="rId346"/>
    <p:sldLayoutId id="2147484400" r:id="rId347"/>
    <p:sldLayoutId id="2147484401" r:id="rId348"/>
    <p:sldLayoutId id="2147484402" r:id="rId349"/>
    <p:sldLayoutId id="2147484822" r:id="rId350"/>
    <p:sldLayoutId id="2147486251" r:id="rId351"/>
    <p:sldLayoutId id="2147484334" r:id="rId352"/>
    <p:sldLayoutId id="2147487351" r:id="rId353"/>
    <p:sldLayoutId id="2147486990" r:id="rId354"/>
    <p:sldLayoutId id="2147484585" r:id="rId355"/>
    <p:sldLayoutId id="2147484586" r:id="rId356"/>
    <p:sldLayoutId id="2147484587" r:id="rId357"/>
    <p:sldLayoutId id="2147484588" r:id="rId358"/>
    <p:sldLayoutId id="2147484592" r:id="rId359"/>
    <p:sldLayoutId id="2147484593" r:id="rId360"/>
    <p:sldLayoutId id="2147484594" r:id="rId361"/>
    <p:sldLayoutId id="2147487156" r:id="rId362"/>
    <p:sldLayoutId id="2147485370" r:id="rId363"/>
    <p:sldLayoutId id="2147485872" r:id="rId364"/>
    <p:sldLayoutId id="2147486927" r:id="rId365"/>
    <p:sldLayoutId id="2147485367" r:id="rId366"/>
    <p:sldLayoutId id="2147485368" r:id="rId367"/>
    <p:sldLayoutId id="2147485369" r:id="rId368"/>
    <p:sldLayoutId id="2147485400" r:id="rId369"/>
    <p:sldLayoutId id="2147485401" r:id="rId370"/>
    <p:sldLayoutId id="2147485402" r:id="rId371"/>
    <p:sldLayoutId id="2147485403" r:id="rId372"/>
    <p:sldLayoutId id="2147483752" r:id="rId373"/>
    <p:sldLayoutId id="2147483753" r:id="rId374"/>
    <p:sldLayoutId id="2147483754" r:id="rId375"/>
    <p:sldLayoutId id="2147483755" r:id="rId376"/>
    <p:sldLayoutId id="2147484386" r:id="rId377"/>
    <p:sldLayoutId id="2147484815" r:id="rId378"/>
    <p:sldLayoutId id="2147484816" r:id="rId379"/>
    <p:sldLayoutId id="2147484817" r:id="rId380"/>
    <p:sldLayoutId id="2147484330" r:id="rId381"/>
    <p:sldLayoutId id="2147484331" r:id="rId382"/>
    <p:sldLayoutId id="2147484332" r:id="rId383"/>
    <p:sldLayoutId id="2147484477" r:id="rId384"/>
    <p:sldLayoutId id="2147484478" r:id="rId385"/>
    <p:sldLayoutId id="2147484260" r:id="rId386"/>
    <p:sldLayoutId id="2147484856" r:id="rId387"/>
    <p:sldLayoutId id="2147484480" r:id="rId388"/>
    <p:sldLayoutId id="2147484267" r:id="rId389"/>
    <p:sldLayoutId id="2147484481" r:id="rId390"/>
    <p:sldLayoutId id="2147484482" r:id="rId391"/>
    <p:sldLayoutId id="2147484483" r:id="rId392"/>
    <p:sldLayoutId id="2147484484" r:id="rId393"/>
    <p:sldLayoutId id="2147486991" r:id="rId394"/>
    <p:sldLayoutId id="2147486992" r:id="rId395"/>
    <p:sldLayoutId id="2147486252" r:id="rId396"/>
    <p:sldLayoutId id="2147486253" r:id="rId397"/>
    <p:sldLayoutId id="2147486363" r:id="rId398"/>
    <p:sldLayoutId id="2147487006" r:id="rId399"/>
    <p:sldLayoutId id="2147486364" r:id="rId400"/>
    <p:sldLayoutId id="2147486365" r:id="rId401"/>
    <p:sldLayoutId id="2147487007" r:id="rId402"/>
    <p:sldLayoutId id="2147483940" r:id="rId403"/>
    <p:sldLayoutId id="2147486366" r:id="rId404"/>
    <p:sldLayoutId id="2147486367" r:id="rId405"/>
    <p:sldLayoutId id="2147486368" r:id="rId406"/>
    <p:sldLayoutId id="2147486369" r:id="rId407"/>
    <p:sldLayoutId id="2147483944" r:id="rId408"/>
    <p:sldLayoutId id="2147483945" r:id="rId409"/>
    <p:sldLayoutId id="2147483967" r:id="rId410"/>
    <p:sldLayoutId id="2147483968" r:id="rId411"/>
    <p:sldLayoutId id="2147483969" r:id="rId412"/>
    <p:sldLayoutId id="2147483970" r:id="rId413"/>
    <p:sldLayoutId id="2147483971" r:id="rId414"/>
    <p:sldLayoutId id="2147483972" r:id="rId415"/>
    <p:sldLayoutId id="2147483973" r:id="rId416"/>
    <p:sldLayoutId id="2147483976" r:id="rId417"/>
    <p:sldLayoutId id="2147483977" r:id="rId418"/>
    <p:sldLayoutId id="2147483978" r:id="rId419"/>
    <p:sldLayoutId id="2147483983" r:id="rId420"/>
    <p:sldLayoutId id="2147483984" r:id="rId421"/>
    <p:sldLayoutId id="2147483985" r:id="rId422"/>
    <p:sldLayoutId id="2147483986" r:id="rId423"/>
    <p:sldLayoutId id="2147483989" r:id="rId424"/>
    <p:sldLayoutId id="2147483990" r:id="rId425"/>
    <p:sldLayoutId id="2147483991" r:id="rId426"/>
    <p:sldLayoutId id="2147483992" r:id="rId427"/>
    <p:sldLayoutId id="2147483993" r:id="rId428"/>
    <p:sldLayoutId id="2147483996" r:id="rId429"/>
    <p:sldLayoutId id="2147483997" r:id="rId430"/>
    <p:sldLayoutId id="2147483998" r:id="rId431"/>
    <p:sldLayoutId id="2147483999" r:id="rId432"/>
    <p:sldLayoutId id="2147484000" r:id="rId433"/>
    <p:sldLayoutId id="2147484001" r:id="rId434"/>
    <p:sldLayoutId id="2147484652" r:id="rId435"/>
    <p:sldLayoutId id="2147484653" r:id="rId436"/>
    <p:sldLayoutId id="2147487008" r:id="rId437"/>
    <p:sldLayoutId id="2147487009" r:id="rId438"/>
    <p:sldLayoutId id="2147487010" r:id="rId439"/>
    <p:sldLayoutId id="2147487011" r:id="rId440"/>
    <p:sldLayoutId id="2147487012" r:id="rId441"/>
    <p:sldLayoutId id="2147487013" r:id="rId442"/>
    <p:sldLayoutId id="2147488239" r:id="rId443"/>
    <p:sldLayoutId id="2147485215" r:id="rId444"/>
    <p:sldLayoutId id="2147485425" r:id="rId445"/>
    <p:sldLayoutId id="2147485903" r:id="rId446"/>
    <p:sldLayoutId id="2147485904" r:id="rId447"/>
    <p:sldLayoutId id="2147485391" r:id="rId448"/>
    <p:sldLayoutId id="2147485392" r:id="rId449"/>
    <p:sldLayoutId id="2147484376" r:id="rId450"/>
    <p:sldLayoutId id="2147485905" r:id="rId451"/>
    <p:sldLayoutId id="2147485906" r:id="rId452"/>
    <p:sldLayoutId id="2147485394" r:id="rId453"/>
    <p:sldLayoutId id="2147485395" r:id="rId454"/>
    <p:sldLayoutId id="2147486284" r:id="rId455"/>
    <p:sldLayoutId id="2147484378" r:id="rId456"/>
    <p:sldLayoutId id="2147484379" r:id="rId457"/>
    <p:sldLayoutId id="2147485396" r:id="rId458"/>
    <p:sldLayoutId id="2147488079" r:id="rId459"/>
    <p:sldLayoutId id="2147488240" r:id="rId460"/>
    <p:sldLayoutId id="2147488241" r:id="rId46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2/1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54" r:id="rId1"/>
    <p:sldLayoutId id="2147485755" r:id="rId2"/>
    <p:sldLayoutId id="2147485756" r:id="rId3"/>
    <p:sldLayoutId id="2147485757" r:id="rId4"/>
    <p:sldLayoutId id="2147485758" r:id="rId5"/>
    <p:sldLayoutId id="2147485759" r:id="rId6"/>
    <p:sldLayoutId id="2147485760" r:id="rId7"/>
    <p:sldLayoutId id="2147485761" r:id="rId8"/>
    <p:sldLayoutId id="2147485762" r:id="rId9"/>
    <p:sldLayoutId id="2147485763" r:id="rId10"/>
    <p:sldLayoutId id="214748576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6">
                <a:lumMod val="40000"/>
                <a:lumOff val="60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16649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43" r:id="rId1"/>
    <p:sldLayoutId id="2147488244" r:id="rId2"/>
    <p:sldLayoutId id="2147488245" r:id="rId3"/>
    <p:sldLayoutId id="2147488246" r:id="rId4"/>
    <p:sldLayoutId id="2147488247" r:id="rId5"/>
    <p:sldLayoutId id="2147488248" r:id="rId6"/>
    <p:sldLayoutId id="2147488249" r:id="rId7"/>
    <p:sldLayoutId id="2147488250" r:id="rId8"/>
    <p:sldLayoutId id="2147488251" r:id="rId9"/>
    <p:sldLayoutId id="2147488252" r:id="rId10"/>
    <p:sldLayoutId id="2147488253" r:id="rId11"/>
    <p:sldLayoutId id="2147488254" r:id="rId1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4B53B4F-080C-8523-03AD-871CC3B8D168}"/>
              </a:ext>
            </a:extLst>
          </p:cNvPr>
          <p:cNvSpPr/>
          <p:nvPr/>
        </p:nvSpPr>
        <p:spPr>
          <a:xfrm>
            <a:off x="1524" y="0"/>
            <a:ext cx="12188952" cy="6858000"/>
          </a:xfrm>
          <a:prstGeom prst="rect">
            <a:avLst/>
          </a:prstGeom>
          <a:solidFill>
            <a:schemeClr val="bg2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3B790B-70BD-FD52-2540-F1DA4882170E}"/>
              </a:ext>
            </a:extLst>
          </p:cNvPr>
          <p:cNvSpPr/>
          <p:nvPr/>
        </p:nvSpPr>
        <p:spPr>
          <a:xfrm>
            <a:off x="1446276" y="685800"/>
            <a:ext cx="10744200" cy="548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 descr="Tag=AccentColor&#10;Flavor=Light&#10;Target=Line">
            <a:extLst>
              <a:ext uri="{FF2B5EF4-FFF2-40B4-BE49-F238E27FC236}">
                <a16:creationId xmlns:a16="http://schemas.microsoft.com/office/drawing/2014/main" id="{7D4FC5F0-CBD6-AEEB-4902-28D624068890}"/>
              </a:ext>
            </a:extLst>
          </p:cNvPr>
          <p:cNvCxnSpPr>
            <a:cxnSpLocks/>
          </p:cNvCxnSpPr>
          <p:nvPr/>
        </p:nvCxnSpPr>
        <p:spPr>
          <a:xfrm flipV="1">
            <a:off x="11496184" y="5610"/>
            <a:ext cx="0" cy="685800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 descr="Tag=AccentColor&#10;Flavor=Light&#10;Target=Line">
            <a:extLst>
              <a:ext uri="{FF2B5EF4-FFF2-40B4-BE49-F238E27FC236}">
                <a16:creationId xmlns:a16="http://schemas.microsoft.com/office/drawing/2014/main" id="{FA9EB4DB-DDA5-1A45-7D87-B2BF67D2D1C3}"/>
              </a:ext>
            </a:extLst>
          </p:cNvPr>
          <p:cNvCxnSpPr>
            <a:cxnSpLocks/>
          </p:cNvCxnSpPr>
          <p:nvPr/>
        </p:nvCxnSpPr>
        <p:spPr>
          <a:xfrm>
            <a:off x="1524" y="6172200"/>
            <a:ext cx="12192000" cy="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92AF870-601F-4570-A8A9-1003F8939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CCCECD-B6E7-4C40-8A84-65FD5A3F0A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0624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3EFA4D-0E39-4E26-B43C-5D1084B3BA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20624" y="6217920"/>
            <a:ext cx="2743200" cy="6400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fld id="{94CDC665-7415-4DAF-AE09-B9BBC1907393}" type="datetime2">
              <a:rPr lang="en-US" smtClean="0"/>
              <a:t>Monday, February 17,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8851EA-2F2C-4012-8B96-51179BDD11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67328" y="6217920"/>
            <a:ext cx="7196328" cy="6400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BB8ACB-7A60-4D76-A149-0C57A30E01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3152" y="-18288"/>
            <a:ext cx="685800" cy="685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fld id="{7BE69E03-4804-4553-A1EC-F089884EF5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867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56" r:id="rId1"/>
    <p:sldLayoutId id="2147488257" r:id="rId2"/>
    <p:sldLayoutId id="2147488258" r:id="rId3"/>
    <p:sldLayoutId id="2147488259" r:id="rId4"/>
    <p:sldLayoutId id="2147488260" r:id="rId5"/>
    <p:sldLayoutId id="2147488261" r:id="rId6"/>
    <p:sldLayoutId id="2147488262" r:id="rId7"/>
    <p:sldLayoutId id="2147488263" r:id="rId8"/>
    <p:sldLayoutId id="2147488264" r:id="rId9"/>
    <p:sldLayoutId id="2147488265" r:id="rId10"/>
    <p:sldLayoutId id="2147488266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Wingdings 2" panose="05020102010507070707" pitchFamily="18" charset="2"/>
        <a:buChar char="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Wingdings 2" panose="05020102010507070707" pitchFamily="18" charset="2"/>
        <a:buChar char="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Wingdings 2" panose="05020102010507070707" pitchFamily="18" charset="2"/>
        <a:buChar char="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Wingdings 2" panose="05020102010507070707" pitchFamily="18" charset="2"/>
        <a:buChar char="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Wingdings 2" panose="05020102010507070707" pitchFamily="18" charset="2"/>
        <a:buChar char=""/>
        <a:defRPr sz="11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0293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68" r:id="rId1"/>
    <p:sldLayoutId id="2147488269" r:id="rId2"/>
    <p:sldLayoutId id="2147488270" r:id="rId3"/>
    <p:sldLayoutId id="2147488271" r:id="rId4"/>
    <p:sldLayoutId id="2147488272" r:id="rId5"/>
    <p:sldLayoutId id="2147488273" r:id="rId6"/>
    <p:sldLayoutId id="2147488274" r:id="rId7"/>
    <p:sldLayoutId id="2147488275" r:id="rId8"/>
    <p:sldLayoutId id="2147488276" r:id="rId9"/>
    <p:sldLayoutId id="2147488277" r:id="rId10"/>
    <p:sldLayoutId id="2147488278" r:id="rId11"/>
    <p:sldLayoutId id="2147488279" r:id="rId12"/>
    <p:sldLayoutId id="214748828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9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sv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48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4.svg"/><Relationship Id="rId7" Type="http://schemas.openxmlformats.org/officeDocument/2006/relationships/image" Target="../media/image108.sv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491.xml"/><Relationship Id="rId6" Type="http://schemas.openxmlformats.org/officeDocument/2006/relationships/image" Target="../media/image107.png"/><Relationship Id="rId5" Type="http://schemas.openxmlformats.org/officeDocument/2006/relationships/image" Target="../media/image106.svg"/><Relationship Id="rId4" Type="http://schemas.openxmlformats.org/officeDocument/2006/relationships/image" Target="../media/image105.png"/><Relationship Id="rId9" Type="http://schemas.openxmlformats.org/officeDocument/2006/relationships/image" Target="../media/image110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svg"/><Relationship Id="rId3" Type="http://schemas.openxmlformats.org/officeDocument/2006/relationships/image" Target="../media/image111.png"/><Relationship Id="rId7" Type="http://schemas.openxmlformats.org/officeDocument/2006/relationships/image" Target="../media/image1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14.svg"/><Relationship Id="rId5" Type="http://schemas.openxmlformats.org/officeDocument/2006/relationships/image" Target="../media/image113.png"/><Relationship Id="rId4" Type="http://schemas.openxmlformats.org/officeDocument/2006/relationships/image" Target="../media/image112.svg"/><Relationship Id="rId9" Type="http://schemas.openxmlformats.org/officeDocument/2006/relationships/image" Target="../media/image11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21.png"/><Relationship Id="rId5" Type="http://schemas.openxmlformats.org/officeDocument/2006/relationships/image" Target="../media/image120.png"/><Relationship Id="rId4" Type="http://schemas.openxmlformats.org/officeDocument/2006/relationships/image" Target="../media/image119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21.png"/><Relationship Id="rId5" Type="http://schemas.openxmlformats.org/officeDocument/2006/relationships/image" Target="../media/image122.png"/><Relationship Id="rId4" Type="http://schemas.openxmlformats.org/officeDocument/2006/relationships/image" Target="../media/image119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23.png"/><Relationship Id="rId4" Type="http://schemas.openxmlformats.org/officeDocument/2006/relationships/image" Target="../media/image119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21.png"/><Relationship Id="rId5" Type="http://schemas.openxmlformats.org/officeDocument/2006/relationships/image" Target="../media/image124.png"/><Relationship Id="rId4" Type="http://schemas.openxmlformats.org/officeDocument/2006/relationships/image" Target="../media/image119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21.png"/><Relationship Id="rId5" Type="http://schemas.openxmlformats.org/officeDocument/2006/relationships/image" Target="../media/image125.png"/><Relationship Id="rId4" Type="http://schemas.openxmlformats.org/officeDocument/2006/relationships/image" Target="../media/image119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svg"/><Relationship Id="rId3" Type="http://schemas.openxmlformats.org/officeDocument/2006/relationships/image" Target="../media/image111.png"/><Relationship Id="rId7" Type="http://schemas.openxmlformats.org/officeDocument/2006/relationships/image" Target="../media/image11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7.xml"/><Relationship Id="rId6" Type="http://schemas.openxmlformats.org/officeDocument/2006/relationships/image" Target="../media/image114.svg"/><Relationship Id="rId5" Type="http://schemas.openxmlformats.org/officeDocument/2006/relationships/image" Target="../media/image113.png"/><Relationship Id="rId4" Type="http://schemas.openxmlformats.org/officeDocument/2006/relationships/image" Target="../media/image112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9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7.xml"/><Relationship Id="rId5" Type="http://schemas.openxmlformats.org/officeDocument/2006/relationships/image" Target="../media/image136.png"/><Relationship Id="rId4" Type="http://schemas.openxmlformats.org/officeDocument/2006/relationships/image" Target="../media/image13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mailto:kmoreno@northshore.org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9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jpeg"/><Relationship Id="rId2" Type="http://schemas.openxmlformats.org/officeDocument/2006/relationships/image" Target="../media/image137.jpeg"/><Relationship Id="rId1" Type="http://schemas.openxmlformats.org/officeDocument/2006/relationships/slideLayout" Target="../slideLayouts/slideLayout503.xml"/><Relationship Id="rId4" Type="http://schemas.openxmlformats.org/officeDocument/2006/relationships/image" Target="../media/image139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jpeg"/><Relationship Id="rId1" Type="http://schemas.openxmlformats.org/officeDocument/2006/relationships/slideLayout" Target="../slideLayouts/slideLayout50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hyperlink" Target="https://chicagohealthatlas.org/suid" TargetMode="External"/><Relationship Id="rId1" Type="http://schemas.openxmlformats.org/officeDocument/2006/relationships/slideLayout" Target="../slideLayouts/slideLayout498.xml"/><Relationship Id="rId6" Type="http://schemas.openxmlformats.org/officeDocument/2006/relationships/image" Target="../media/image144.jpeg"/><Relationship Id="rId5" Type="http://schemas.openxmlformats.org/officeDocument/2006/relationships/image" Target="../media/image143.png"/><Relationship Id="rId4" Type="http://schemas.openxmlformats.org/officeDocument/2006/relationships/image" Target="../media/image14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jpeg"/><Relationship Id="rId2" Type="http://schemas.openxmlformats.org/officeDocument/2006/relationships/image" Target="../media/image145.jpeg"/><Relationship Id="rId1" Type="http://schemas.openxmlformats.org/officeDocument/2006/relationships/slideLayout" Target="../slideLayouts/slideLayout50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image" Target="../media/image147.jpeg"/><Relationship Id="rId1" Type="http://schemas.openxmlformats.org/officeDocument/2006/relationships/slideLayout" Target="../slideLayouts/slideLayout50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50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image" Target="../media/image151.jpeg"/><Relationship Id="rId1" Type="http://schemas.openxmlformats.org/officeDocument/2006/relationships/slideLayout" Target="../slideLayouts/slideLayout498.xml"/><Relationship Id="rId4" Type="http://schemas.openxmlformats.org/officeDocument/2006/relationships/image" Target="../media/image15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50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jpeg"/><Relationship Id="rId7" Type="http://schemas.openxmlformats.org/officeDocument/2006/relationships/image" Target="../media/image161.jpeg"/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502.xml"/><Relationship Id="rId6" Type="http://schemas.openxmlformats.org/officeDocument/2006/relationships/image" Target="../media/image160.jpeg"/><Relationship Id="rId5" Type="http://schemas.openxmlformats.org/officeDocument/2006/relationships/image" Target="../media/image159.jpeg"/><Relationship Id="rId4" Type="http://schemas.openxmlformats.org/officeDocument/2006/relationships/image" Target="../media/image158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hyperlink" Target="https://wgntv.com/spotlight-chicago-sponsored-content/sudden-unexpected-infant-death-awareness-month/" TargetMode="External"/><Relationship Id="rId1" Type="http://schemas.openxmlformats.org/officeDocument/2006/relationships/slideLayout" Target="../slideLayouts/slideLayout502.xml"/><Relationship Id="rId4" Type="http://schemas.openxmlformats.org/officeDocument/2006/relationships/image" Target="../media/image163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jpeg"/><Relationship Id="rId2" Type="http://schemas.openxmlformats.org/officeDocument/2006/relationships/image" Target="../media/image164.jpeg"/><Relationship Id="rId1" Type="http://schemas.openxmlformats.org/officeDocument/2006/relationships/slideLayout" Target="../slideLayouts/slideLayout50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2.xml"/><Relationship Id="rId4" Type="http://schemas.openxmlformats.org/officeDocument/2006/relationships/image" Target="../media/image8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97.xml"/><Relationship Id="rId5" Type="http://schemas.openxmlformats.org/officeDocument/2006/relationships/image" Target="../media/image168.svg"/><Relationship Id="rId4" Type="http://schemas.openxmlformats.org/officeDocument/2006/relationships/image" Target="../media/image167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46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7" Type="http://schemas.openxmlformats.org/officeDocument/2006/relationships/hyperlink" Target="https://www.mommasvoices.org/col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68.xml"/><Relationship Id="rId6" Type="http://schemas.openxmlformats.org/officeDocument/2006/relationships/image" Target="../media/image173.png"/><Relationship Id="rId5" Type="http://schemas.openxmlformats.org/officeDocument/2006/relationships/image" Target="../media/image172.png"/><Relationship Id="rId4" Type="http://schemas.openxmlformats.org/officeDocument/2006/relationships/image" Target="../media/image171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9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482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48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image" Target="../media/image92.png"/><Relationship Id="rId7" Type="http://schemas.openxmlformats.org/officeDocument/2006/relationships/image" Target="../media/image96.svg"/><Relationship Id="rId2" Type="http://schemas.openxmlformats.org/officeDocument/2006/relationships/hyperlink" Target="mailto:info@ilpqc.org" TargetMode="External"/><Relationship Id="rId1" Type="http://schemas.openxmlformats.org/officeDocument/2006/relationships/slideLayout" Target="../slideLayouts/slideLayout477.xml"/><Relationship Id="rId6" Type="http://schemas.openxmlformats.org/officeDocument/2006/relationships/image" Target="../media/image95.png"/><Relationship Id="rId5" Type="http://schemas.openxmlformats.org/officeDocument/2006/relationships/image" Target="../media/image94.svg"/><Relationship Id="rId4" Type="http://schemas.openxmlformats.org/officeDocument/2006/relationships/image" Target="../media/image93.png"/><Relationship Id="rId9" Type="http://schemas.openxmlformats.org/officeDocument/2006/relationships/image" Target="../media/image9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hyperlink" Target="mailto:info@ilpqc.org" TargetMode="External"/><Relationship Id="rId1" Type="http://schemas.openxmlformats.org/officeDocument/2006/relationships/slideLayout" Target="../slideLayouts/slideLayout477.xml"/><Relationship Id="rId4" Type="http://schemas.openxmlformats.org/officeDocument/2006/relationships/image" Target="../media/image9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2708" y="1936740"/>
            <a:ext cx="5439923" cy="2136784"/>
          </a:xfrm>
        </p:spPr>
        <p:txBody>
          <a:bodyPr/>
          <a:lstStyle/>
          <a:p>
            <a:pPr lvl="1" algn="ctr"/>
            <a:r>
              <a:rPr lang="en-US" sz="3500" b="1" dirty="0">
                <a:solidFill>
                  <a:schemeClr val="accent1"/>
                </a:solidFill>
                <a:latin typeface="+mn-lt"/>
                <a:ea typeface="+mj-lt"/>
                <a:cs typeface="+mj-lt"/>
              </a:rPr>
              <a:t>Equity and Safe Sleep for Infants</a:t>
            </a:r>
            <a:br>
              <a:rPr lang="en-US" sz="3500" b="1" dirty="0">
                <a:solidFill>
                  <a:schemeClr val="accent1"/>
                </a:solidFill>
                <a:latin typeface="+mn-lt"/>
                <a:ea typeface="+mj-lt"/>
                <a:cs typeface="+mj-lt"/>
              </a:rPr>
            </a:br>
            <a:br>
              <a:rPr lang="en-US" sz="3500" b="1" dirty="0">
                <a:solidFill>
                  <a:schemeClr val="accent1"/>
                </a:solidFill>
                <a:latin typeface="+mn-lt"/>
                <a:ea typeface="+mj-lt"/>
                <a:cs typeface="+mj-lt"/>
              </a:rPr>
            </a:br>
            <a:r>
              <a:rPr lang="en-US" sz="2500" i="1" dirty="0">
                <a:solidFill>
                  <a:schemeClr val="accent1"/>
                </a:solidFill>
                <a:latin typeface="+mn-lt"/>
                <a:ea typeface="+mj-lt"/>
                <a:cs typeface="+mj-lt"/>
              </a:rPr>
              <a:t>Building Relationships with Community Organizations</a:t>
            </a:r>
            <a:endParaRPr lang="en-US" sz="3600" b="0" dirty="0">
              <a:latin typeface="+mn-lt"/>
              <a:cs typeface="Calibri"/>
            </a:endParaRPr>
          </a:p>
        </p:txBody>
      </p:sp>
      <p:pic>
        <p:nvPicPr>
          <p:cNvPr id="2" name="Picture 1" descr="A person holding a baby&#10;&#10;Description automatically generated">
            <a:extLst>
              <a:ext uri="{FF2B5EF4-FFF2-40B4-BE49-F238E27FC236}">
                <a16:creationId xmlns:a16="http://schemas.microsoft.com/office/drawing/2014/main" id="{0D7C69D0-240C-8322-D521-66F461EE341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3571" y="1815347"/>
            <a:ext cx="4425350" cy="289662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Subtitle 3">
            <a:extLst>
              <a:ext uri="{FF2B5EF4-FFF2-40B4-BE49-F238E27FC236}">
                <a16:creationId xmlns:a16="http://schemas.microsoft.com/office/drawing/2014/main" id="{7F20A429-9947-F447-2DF2-A5C17B5C6EC1}"/>
              </a:ext>
            </a:extLst>
          </p:cNvPr>
          <p:cNvSpPr>
            <a:spLocks noGrp="1"/>
          </p:cNvSpPr>
          <p:nvPr/>
        </p:nvSpPr>
        <p:spPr>
          <a:xfrm>
            <a:off x="1515724" y="4073524"/>
            <a:ext cx="5426907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ea typeface="+mn-lt"/>
                <a:cs typeface="+mn-lt"/>
              </a:rPr>
              <a:t> February 17th, 2025, 2:00 PM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92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5955B3A-C08D-43E6-ABEF-A4F616FB6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719694A-8B4E-4127-9C08-9B8F39B6F2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solidFill>
            <a:schemeClr val="bg2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2D36E6B-D7EF-409B-B48D-1628C06EE1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46276" y="685800"/>
            <a:ext cx="10744200" cy="548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2899" y="3854831"/>
            <a:ext cx="5278995" cy="2156581"/>
          </a:xfrm>
        </p:spPr>
        <p:txBody>
          <a:bodyPr anchor="t">
            <a:normAutofit/>
          </a:bodyPr>
          <a:lstStyle/>
          <a:p>
            <a:pPr algn="l"/>
            <a:r>
              <a:rPr lang="en-US" sz="4800" dirty="0"/>
              <a:t>ESSI “On the Path to QI Excellence”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16D2053-BB10-4615-A38D-86EEC0D863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422144" cy="3599020"/>
          </a:xfrm>
          <a:prstGeom prst="rect">
            <a:avLst/>
          </a:prstGeom>
          <a:solidFill>
            <a:srgbClr val="99C2FD">
              <a:alpha val="25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4" name="Picture 3" descr="Colorful liquid art">
            <a:extLst>
              <a:ext uri="{FF2B5EF4-FFF2-40B4-BE49-F238E27FC236}">
                <a16:creationId xmlns:a16="http://schemas.microsoft.com/office/drawing/2014/main" id="{874CA820-C3BD-1713-1BA5-D77131ABD82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7846" r="-7" b="25771"/>
          <a:stretch/>
        </p:blipFill>
        <p:spPr>
          <a:xfrm>
            <a:off x="422145" y="10"/>
            <a:ext cx="11082529" cy="3599011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2CC60F-C99A-48C5-856F-3C79856E9E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11496184" y="5610"/>
            <a:ext cx="0" cy="6858000"/>
          </a:xfrm>
          <a:prstGeom prst="line">
            <a:avLst/>
          </a:prstGeom>
          <a:ln w="9525" cap="rnd">
            <a:solidFill>
              <a:srgbClr val="99C2F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A2ED1C-4B10-41E7-9BF6-7447B99B98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524" y="6172200"/>
            <a:ext cx="12192000" cy="0"/>
          </a:xfrm>
          <a:prstGeom prst="line">
            <a:avLst/>
          </a:prstGeom>
          <a:ln w="9525" cap="rnd">
            <a:solidFill>
              <a:srgbClr val="99C2F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8452E72-AB4B-4CC7-D3A9-695637F03D4B}"/>
              </a:ext>
            </a:extLst>
          </p:cNvPr>
          <p:cNvSpPr txBox="1"/>
          <p:nvPr/>
        </p:nvSpPr>
        <p:spPr>
          <a:xfrm>
            <a:off x="5436597" y="5341203"/>
            <a:ext cx="643300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"/>
                <a:ea typeface="+mn-ea"/>
                <a:cs typeface="+mn-cs"/>
              </a:rPr>
              <a:t>Face to Fac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i="1" dirty="0">
                <a:solidFill>
                  <a:srgbClr val="000000"/>
                </a:solidFill>
                <a:latin typeface="DM Sans"/>
              </a:rPr>
              <a:t>Hospital and individual-level data submission through end of March.</a:t>
            </a:r>
            <a:endParaRPr kumimoji="0" lang="en-US" sz="160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AD7A72-952D-7E0B-4EB8-36AAAD809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997BA6-BEF8-495F-ACCD-8D19769E4FC6}" type="datetime2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7495C"/>
                </a:solidFill>
                <a:effectLst/>
                <a:uLnTx/>
                <a:uFillTx/>
                <a:latin typeface="Univer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February 17, 202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7495C"/>
              </a:solidFill>
              <a:effectLst/>
              <a:uLnTx/>
              <a:uFillTx/>
              <a:latin typeface="Univers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A1DFCC-2AB6-DE29-D980-738497AFD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57495C"/>
                </a:solidFill>
                <a:effectLst/>
                <a:uLnTx/>
                <a:uFillTx/>
                <a:latin typeface="Univers"/>
                <a:ea typeface="+mn-ea"/>
                <a:cs typeface="+mn-cs"/>
              </a:rPr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CE222C-0B7C-9F5C-B33E-1B4697A90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E69E03-4804-4553-A1EC-F089884EF50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7495C"/>
                </a:solidFill>
                <a:effectLst/>
                <a:uLnTx/>
                <a:uFillTx/>
                <a:latin typeface="Univer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7495C"/>
              </a:solidFill>
              <a:effectLst/>
              <a:uLnTx/>
              <a:uFillTx/>
              <a:latin typeface="Univers"/>
              <a:ea typeface="+mn-ea"/>
              <a:cs typeface="+mn-cs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B65C1D2-DCD4-CF7C-C4CA-17888F27FC37}"/>
              </a:ext>
            </a:extLst>
          </p:cNvPr>
          <p:cNvGraphicFramePr>
            <a:graphicFrameLocks noGrp="1"/>
          </p:cNvGraphicFramePr>
          <p:nvPr/>
        </p:nvGraphicFramePr>
        <p:xfrm>
          <a:off x="365905" y="125196"/>
          <a:ext cx="11618213" cy="65562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00137">
                  <a:extLst>
                    <a:ext uri="{9D8B030D-6E8A-4147-A177-3AD203B41FA5}">
                      <a16:colId xmlns:a16="http://schemas.microsoft.com/office/drawing/2014/main" val="1712801261"/>
                    </a:ext>
                  </a:extLst>
                </a:gridCol>
                <a:gridCol w="1718076">
                  <a:extLst>
                    <a:ext uri="{9D8B030D-6E8A-4147-A177-3AD203B41FA5}">
                      <a16:colId xmlns:a16="http://schemas.microsoft.com/office/drawing/2014/main" val="3391968502"/>
                    </a:ext>
                  </a:extLst>
                </a:gridCol>
              </a:tblGrid>
              <a:tr h="400659">
                <a:tc>
                  <a:txBody>
                    <a:bodyPr/>
                    <a:lstStyle/>
                    <a:p>
                      <a:r>
                        <a:rPr lang="en-US" sz="1900">
                          <a:solidFill>
                            <a:schemeClr val="bg1"/>
                          </a:solidFill>
                          <a:latin typeface="DM Sans"/>
                        </a:rPr>
                        <a:t>Structure Meas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900">
                          <a:latin typeface="DM Sans"/>
                        </a:rPr>
                        <a:t>In Pla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6053551"/>
                  </a:ext>
                </a:extLst>
              </a:tr>
              <a:tr h="96522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900" b="0" i="0" u="none" strike="noStrike" noProof="0" dirty="0">
                          <a:solidFill>
                            <a:schemeClr val="tx1"/>
                          </a:solidFill>
                          <a:latin typeface="DM Sans"/>
                        </a:rPr>
                        <a:t>Standardized physician, non-physician clinician, and hospital staff education about listening to parents and caregivers, providing respectful care and building trust, addressing implicit bias and engaging in anti-racism</a:t>
                      </a:r>
                      <a:endParaRPr lang="en-US" sz="1900" dirty="0">
                        <a:solidFill>
                          <a:schemeClr val="tx1"/>
                        </a:solidFill>
                        <a:latin typeface="DM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900" dirty="0">
                        <a:latin typeface="DM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6534388"/>
                  </a:ext>
                </a:extLst>
              </a:tr>
              <a:tr h="125661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900" b="0" i="0" u="none" strike="noStrike" noProof="0">
                          <a:solidFill>
                            <a:schemeClr val="tx1"/>
                          </a:solidFill>
                          <a:latin typeface="DM Sans"/>
                        </a:rPr>
                        <a:t>Standardized physician, non-physician clinician, and hospital staff education about the importance of a safe sleep environment and engaging in meaningful, culturally appropriate, respectful, nonjudgmental conversations with parents or caregivers about safe sleep </a:t>
                      </a:r>
                      <a:endParaRPr lang="en-US" sz="1900">
                        <a:solidFill>
                          <a:schemeClr val="tx1"/>
                        </a:solidFill>
                        <a:latin typeface="DM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900" dirty="0">
                        <a:latin typeface="DM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7843707"/>
                  </a:ext>
                </a:extLst>
              </a:tr>
              <a:tr h="67383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900" b="0" i="0" u="none" strike="noStrike" noProof="0">
                          <a:solidFill>
                            <a:schemeClr val="tx1"/>
                          </a:solidFill>
                          <a:latin typeface="DM Sans"/>
                        </a:rPr>
                        <a:t>Hospital has a policy in place for safe sleep practices reflective of the 2022 AAP Recommendations.</a:t>
                      </a:r>
                      <a:endParaRPr lang="en-US" sz="1900">
                        <a:solidFill>
                          <a:schemeClr val="tx1"/>
                        </a:solidFill>
                        <a:latin typeface="DM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900">
                        <a:latin typeface="DM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1415004"/>
                  </a:ext>
                </a:extLst>
              </a:tr>
              <a:tr h="67383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900" b="0" i="0" u="none" strike="noStrike" noProof="0">
                          <a:solidFill>
                            <a:schemeClr val="tx1"/>
                          </a:solidFill>
                          <a:latin typeface="DM Sans"/>
                        </a:rPr>
                        <a:t>Hospital has a standardized process to use qualified language interpreters in parents/caregivers’ preferred language.</a:t>
                      </a:r>
                      <a:endParaRPr lang="en-US" sz="1900">
                        <a:solidFill>
                          <a:schemeClr val="tx1"/>
                        </a:solidFill>
                        <a:latin typeface="DM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900" dirty="0">
                        <a:latin typeface="DM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9513474"/>
                  </a:ext>
                </a:extLst>
              </a:tr>
              <a:tr h="67383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900" b="0" i="0" u="none" strike="noStrike" noProof="0">
                          <a:solidFill>
                            <a:schemeClr val="tx1"/>
                          </a:solidFill>
                          <a:latin typeface="DM Sans"/>
                        </a:rPr>
                        <a:t>Hospital has a standardized process for reviewing all unit policies with an equity lens and making necessary changes. </a:t>
                      </a:r>
                      <a:endParaRPr lang="en-US" sz="1900">
                        <a:solidFill>
                          <a:schemeClr val="tx1"/>
                        </a:solidFill>
                        <a:latin typeface="DM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900">
                        <a:latin typeface="DM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5645607"/>
                  </a:ext>
                </a:extLst>
              </a:tr>
              <a:tr h="56456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900" b="0" i="0" u="none" strike="noStrike" noProof="0">
                          <a:solidFill>
                            <a:schemeClr val="tx1"/>
                          </a:solidFill>
                          <a:latin typeface="DM Sans"/>
                        </a:rPr>
                        <a:t>Hospital has parent(s) and/or caregiver(s) on the newborn quality improvement team</a:t>
                      </a:r>
                      <a:endParaRPr lang="en-US" sz="1900">
                        <a:solidFill>
                          <a:schemeClr val="tx1"/>
                        </a:solidFill>
                        <a:latin typeface="DM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900" dirty="0">
                        <a:latin typeface="DM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1705047"/>
                  </a:ext>
                </a:extLst>
              </a:tr>
              <a:tr h="67383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900" b="0" i="0" u="none" strike="noStrike" noProof="0">
                          <a:solidFill>
                            <a:schemeClr val="tx1"/>
                          </a:solidFill>
                          <a:latin typeface="DM Sans"/>
                        </a:rPr>
                        <a:t>Hospital has a standardized process to provide resources to enable a safe sleep environment outside of the hospital.</a:t>
                      </a:r>
                      <a:endParaRPr lang="en-US" sz="1900">
                        <a:solidFill>
                          <a:schemeClr val="tx1"/>
                        </a:solidFill>
                        <a:latin typeface="DM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900">
                        <a:latin typeface="DM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6311034"/>
                  </a:ext>
                </a:extLst>
              </a:tr>
              <a:tr h="67383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900" b="0" i="0" u="none" strike="noStrike" noProof="0" dirty="0">
                          <a:solidFill>
                            <a:schemeClr val="tx1"/>
                          </a:solidFill>
                          <a:latin typeface="DM Sans"/>
                        </a:rPr>
                        <a:t>Hospital has a standardized process to screen for newborn inclusive Social Determinants of Health and to link to needed resources</a:t>
                      </a:r>
                      <a:endParaRPr lang="en-US" sz="1900" dirty="0">
                        <a:solidFill>
                          <a:schemeClr val="tx1"/>
                        </a:solidFill>
                        <a:latin typeface="DM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900" dirty="0">
                        <a:latin typeface="DM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4091827"/>
                  </a:ext>
                </a:extLst>
              </a:tr>
            </a:tbl>
          </a:graphicData>
        </a:graphic>
      </p:graphicFrame>
      <p:pic>
        <p:nvPicPr>
          <p:cNvPr id="8" name="Graphic 7" descr="Checkmark with solid fill">
            <a:extLst>
              <a:ext uri="{FF2B5EF4-FFF2-40B4-BE49-F238E27FC236}">
                <a16:creationId xmlns:a16="http://schemas.microsoft.com/office/drawing/2014/main" id="{4DCA2C75-C09C-CDBD-8DA5-2EC141D32E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35229" y="2558177"/>
            <a:ext cx="1716026" cy="171602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092F6FB-C5B0-4F55-A42E-26AE30D29EFE}"/>
              </a:ext>
            </a:extLst>
          </p:cNvPr>
          <p:cNvSpPr txBox="1"/>
          <p:nvPr/>
        </p:nvSpPr>
        <p:spPr>
          <a:xfrm>
            <a:off x="7365492" y="5672023"/>
            <a:ext cx="4531860" cy="369332"/>
          </a:xfrm>
          <a:prstGeom prst="rect">
            <a:avLst/>
          </a:prstGeom>
          <a:solidFill>
            <a:schemeClr val="accent3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vers"/>
                <a:ea typeface="+mn-ea"/>
                <a:cs typeface="+mn-cs"/>
              </a:rPr>
              <a:t>6 out of 8 structure measures in place</a:t>
            </a:r>
          </a:p>
        </p:txBody>
      </p:sp>
    </p:spTree>
    <p:extLst>
      <p:ext uri="{BB962C8B-B14F-4D97-AF65-F5344CB8AC3E}">
        <p14:creationId xmlns:p14="http://schemas.microsoft.com/office/powerpoint/2010/main" val="23413149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AD7A72-952D-7E0B-4EB8-36AAAD809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997BA6-BEF8-495F-ACCD-8D19769E4FC6}" type="datetime2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7495C"/>
                </a:solidFill>
                <a:effectLst/>
                <a:uLnTx/>
                <a:uFillTx/>
                <a:latin typeface="Univer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onday, February 17, 202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7495C"/>
              </a:solidFill>
              <a:effectLst/>
              <a:uLnTx/>
              <a:uFillTx/>
              <a:latin typeface="Univers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CE222C-0B7C-9F5C-B33E-1B4697A90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E69E03-4804-4553-A1EC-F089884EF50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57495C"/>
                </a:solidFill>
                <a:effectLst/>
                <a:uLnTx/>
                <a:uFillTx/>
                <a:latin typeface="Univer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57495C"/>
              </a:solidFill>
              <a:effectLst/>
              <a:uLnTx/>
              <a:uFillTx/>
              <a:latin typeface="Univers"/>
              <a:ea typeface="+mn-ea"/>
              <a:cs typeface="+mn-cs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2C463D0-EA15-D636-059E-64605F0552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119723"/>
              </p:ext>
            </p:extLst>
          </p:nvPr>
        </p:nvGraphicFramePr>
        <p:xfrm>
          <a:off x="372138" y="186069"/>
          <a:ext cx="11391075" cy="61432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81772">
                  <a:extLst>
                    <a:ext uri="{9D8B030D-6E8A-4147-A177-3AD203B41FA5}">
                      <a16:colId xmlns:a16="http://schemas.microsoft.com/office/drawing/2014/main" val="1675810663"/>
                    </a:ext>
                  </a:extLst>
                </a:gridCol>
                <a:gridCol w="4709303">
                  <a:extLst>
                    <a:ext uri="{9D8B030D-6E8A-4147-A177-3AD203B41FA5}">
                      <a16:colId xmlns:a16="http://schemas.microsoft.com/office/drawing/2014/main" val="2779835693"/>
                    </a:ext>
                  </a:extLst>
                </a:gridCol>
              </a:tblGrid>
              <a:tr h="833046">
                <a:tc>
                  <a:txBody>
                    <a:bodyPr/>
                    <a:lstStyle/>
                    <a:p>
                      <a:r>
                        <a:rPr lang="en-US" dirty="0">
                          <a:latin typeface="DM Sans"/>
                        </a:rPr>
                        <a:t>Sleep Environment Aud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>
                          <a:latin typeface="DM Sans"/>
                        </a:rPr>
                        <a:t>On the Path to QI Excell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3411507"/>
                  </a:ext>
                </a:extLst>
              </a:tr>
              <a:tr h="46872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DM Sans"/>
                        </a:rPr>
                        <a:t>% of infants on Postpartum unit in safe sleep environment</a:t>
                      </a:r>
                      <a:endParaRPr lang="en-US" dirty="0">
                        <a:latin typeface="DM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 u="none" dirty="0">
                          <a:latin typeface="DM Sans"/>
                        </a:rPr>
                        <a:t>8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3609519"/>
                  </a:ext>
                </a:extLst>
              </a:tr>
              <a:tr h="54244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 dirty="0">
                          <a:latin typeface="DM Sans"/>
                        </a:rPr>
                        <a:t>% of infants on Special Care Nursery or NICU audited in safe sleep environment</a:t>
                      </a:r>
                      <a:endParaRPr lang="en-US" dirty="0">
                        <a:latin typeface="DM Sans"/>
                      </a:endParaRPr>
                    </a:p>
                  </a:txBody>
                  <a:tcPr>
                    <a:solidFill>
                      <a:srgbClr val="FCEC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u="none" dirty="0">
                          <a:latin typeface="DM Sans"/>
                        </a:rPr>
                        <a:t>80%</a:t>
                      </a:r>
                      <a:endParaRPr lang="en-US" u="none" dirty="0"/>
                    </a:p>
                  </a:txBody>
                  <a:tcPr>
                    <a:solidFill>
                      <a:srgbClr val="FC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234317"/>
                  </a:ext>
                </a:extLst>
              </a:tr>
              <a:tr h="57269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  <a:latin typeface="DM Sans"/>
                        </a:rPr>
                        <a:t>Education Measure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  <a:latin typeface="DM Sans"/>
                        </a:rPr>
                        <a:t>On the Path to QI Excellence</a:t>
                      </a:r>
                    </a:p>
                    <a:p>
                      <a:pPr lvl="0">
                        <a:buNone/>
                      </a:pPr>
                      <a:endParaRPr lang="en-US" b="1" u="sng" dirty="0">
                        <a:latin typeface="DM San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7947782"/>
                  </a:ext>
                </a:extLst>
              </a:tr>
              <a:tr h="81817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>
                          <a:latin typeface="DM Sans"/>
                        </a:rPr>
                        <a:t>% physicians and nurses completing education about listening to parents and caregivers providing respectful care and building trust addressing implicit bias and engaging in anti-racis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u="none" dirty="0">
                          <a:latin typeface="DM Sans"/>
                        </a:rPr>
                        <a:t>70%</a:t>
                      </a:r>
                      <a:endParaRPr lang="en-US" u="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9179581"/>
                  </a:ext>
                </a:extLst>
              </a:tr>
              <a:tr h="81817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>
                          <a:latin typeface="DM Sans"/>
                        </a:rPr>
                        <a:t>% physicians and nurses  </a:t>
                      </a:r>
                      <a:r>
                        <a:rPr lang="en-US" sz="1800" b="0" i="0" u="none" strike="noStrike" noProof="0" dirty="0">
                          <a:latin typeface="DM Sans"/>
                        </a:rPr>
                        <a:t>completing education about the importance of safe sleep and how to effectively educate parents or caregivers.</a:t>
                      </a:r>
                      <a:endParaRPr lang="en-US" dirty="0">
                        <a:latin typeface="DM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u="none" dirty="0">
                          <a:latin typeface="DM Sans"/>
                        </a:rPr>
                        <a:t>70%</a:t>
                      </a:r>
                      <a:endParaRPr lang="en-US" u="none" dirty="0"/>
                    </a:p>
                    <a:p>
                      <a:pPr lvl="0">
                        <a:buNone/>
                      </a:pPr>
                      <a:endParaRPr lang="en-US" b="1" u="none" dirty="0">
                        <a:latin typeface="DM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9238558"/>
                  </a:ext>
                </a:extLst>
              </a:tr>
              <a:tr h="47579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  <a:latin typeface="DM Sans"/>
                        </a:rPr>
                        <a:t>ESSI Bundle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bg1"/>
                          </a:solidFill>
                          <a:latin typeface="DM Sans"/>
                        </a:rPr>
                        <a:t>On the Path to QI Excellence</a:t>
                      </a:r>
                    </a:p>
                    <a:p>
                      <a:pPr lvl="0">
                        <a:buNone/>
                      </a:pPr>
                      <a:endParaRPr lang="en-US" b="1" u="none" dirty="0">
                        <a:solidFill>
                          <a:schemeClr val="bg1"/>
                        </a:solidFill>
                        <a:latin typeface="DM San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646196"/>
                  </a:ext>
                </a:extLst>
              </a:tr>
              <a:tr h="8181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noProof="0" dirty="0">
                          <a:solidFill>
                            <a:srgbClr val="000000"/>
                          </a:solidFill>
                          <a:latin typeface="DM Sans"/>
                        </a:rPr>
                        <a:t>Percentage of charts audited where there is documentation of SDOH screening and linkage if needed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u="none" dirty="0">
                          <a:latin typeface="DM Sans"/>
                        </a:rPr>
                        <a:t>70%</a:t>
                      </a:r>
                      <a:endParaRPr lang="en-US" u="none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4007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1103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C5C14D-68B3-E2A5-AA61-5533D08689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A6766E74-BBCE-6606-477B-9E5C879293CB}"/>
              </a:ext>
            </a:extLst>
          </p:cNvPr>
          <p:cNvSpPr/>
          <p:nvPr/>
        </p:nvSpPr>
        <p:spPr>
          <a:xfrm rot="-1574572">
            <a:off x="-539440" y="-1118515"/>
            <a:ext cx="13270882" cy="9265489"/>
          </a:xfrm>
          <a:custGeom>
            <a:avLst/>
            <a:gdLst/>
            <a:ahLst/>
            <a:cxnLst/>
            <a:rect l="l" t="t" r="r" b="b"/>
            <a:pathLst>
              <a:path w="19906323" h="13898233">
                <a:moveTo>
                  <a:pt x="0" y="0"/>
                </a:moveTo>
                <a:lnTo>
                  <a:pt x="19906322" y="0"/>
                </a:lnTo>
                <a:lnTo>
                  <a:pt x="19906322" y="13898233"/>
                </a:lnTo>
                <a:lnTo>
                  <a:pt x="0" y="13898233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alphaModFix amt="19999"/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 cap="sq">
            <a:noFill/>
            <a:prstDash val="solid"/>
            <a:miter/>
          </a:ln>
        </p:spPr>
        <p:txBody>
          <a:bodyPr/>
          <a:lstStyle/>
          <a:p>
            <a:endParaRPr lang="en-US" sz="1200"/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33263363-C2D8-0DBD-3ACB-40E982750934}"/>
              </a:ext>
            </a:extLst>
          </p:cNvPr>
          <p:cNvSpPr txBox="1"/>
          <p:nvPr/>
        </p:nvSpPr>
        <p:spPr>
          <a:xfrm>
            <a:off x="685801" y="787400"/>
            <a:ext cx="6146787" cy="141968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476"/>
              </a:lnSpc>
            </a:pPr>
            <a:r>
              <a:rPr lang="en-US" sz="5476" b="1" dirty="0">
                <a:solidFill>
                  <a:schemeClr val="accent1"/>
                </a:solidFill>
                <a:latin typeface="Open Sauce Heavy"/>
                <a:ea typeface="Open Sauce Heavy"/>
                <a:cs typeface="Open Sauce Heavy"/>
                <a:sym typeface="Open Sauce Heavy"/>
              </a:rPr>
              <a:t>Need QI Support for ESSI?</a:t>
            </a: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7E1D6ED7-4D76-B948-4BB3-BD38712DAA47}"/>
              </a:ext>
            </a:extLst>
          </p:cNvPr>
          <p:cNvGrpSpPr/>
          <p:nvPr/>
        </p:nvGrpSpPr>
        <p:grpSpPr>
          <a:xfrm>
            <a:off x="-166167" y="6252034"/>
            <a:ext cx="12988989" cy="2057400"/>
            <a:chOff x="0" y="0"/>
            <a:chExt cx="5131452" cy="812800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46740C02-41FD-C7CC-4121-0250E9B532BD}"/>
                </a:ext>
              </a:extLst>
            </p:cNvPr>
            <p:cNvSpPr/>
            <p:nvPr/>
          </p:nvSpPr>
          <p:spPr>
            <a:xfrm>
              <a:off x="0" y="0"/>
              <a:ext cx="5131452" cy="812800"/>
            </a:xfrm>
            <a:custGeom>
              <a:avLst/>
              <a:gdLst/>
              <a:ahLst/>
              <a:cxnLst/>
              <a:rect l="l" t="t" r="r" b="b"/>
              <a:pathLst>
                <a:path w="5131452" h="812800">
                  <a:moveTo>
                    <a:pt x="0" y="0"/>
                  </a:moveTo>
                  <a:lnTo>
                    <a:pt x="5131452" y="0"/>
                  </a:lnTo>
                  <a:lnTo>
                    <a:pt x="5131452" y="812800"/>
                  </a:lnTo>
                  <a:lnTo>
                    <a:pt x="0" y="812800"/>
                  </a:lnTo>
                  <a:close/>
                </a:path>
              </a:pathLst>
            </a:custGeom>
            <a:solidFill>
              <a:srgbClr val="AF2F2F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6" name="TextBox 6">
              <a:extLst>
                <a:ext uri="{FF2B5EF4-FFF2-40B4-BE49-F238E27FC236}">
                  <a16:creationId xmlns:a16="http://schemas.microsoft.com/office/drawing/2014/main" id="{D561EF25-6AA5-6ED4-79FD-CF9E877F7A17}"/>
                </a:ext>
              </a:extLst>
            </p:cNvPr>
            <p:cNvSpPr txBox="1"/>
            <p:nvPr/>
          </p:nvSpPr>
          <p:spPr>
            <a:xfrm>
              <a:off x="0" y="-28575"/>
              <a:ext cx="5131452" cy="8413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149"/>
                </a:lnSpc>
              </a:pPr>
              <a:endParaRPr sz="1200"/>
            </a:p>
          </p:txBody>
        </p:sp>
      </p:grpSp>
      <p:sp>
        <p:nvSpPr>
          <p:cNvPr id="7" name="Freeform 7">
            <a:extLst>
              <a:ext uri="{FF2B5EF4-FFF2-40B4-BE49-F238E27FC236}">
                <a16:creationId xmlns:a16="http://schemas.microsoft.com/office/drawing/2014/main" id="{CFEC117F-F358-3F59-832D-803BEBCA6E29}"/>
              </a:ext>
            </a:extLst>
          </p:cNvPr>
          <p:cNvSpPr/>
          <p:nvPr/>
        </p:nvSpPr>
        <p:spPr>
          <a:xfrm>
            <a:off x="5211974" y="1691277"/>
            <a:ext cx="7212430" cy="5166723"/>
          </a:xfrm>
          <a:custGeom>
            <a:avLst/>
            <a:gdLst/>
            <a:ahLst/>
            <a:cxnLst/>
            <a:rect l="l" t="t" r="r" b="b"/>
            <a:pathLst>
              <a:path w="10818645" h="7750084">
                <a:moveTo>
                  <a:pt x="0" y="0"/>
                </a:moveTo>
                <a:lnTo>
                  <a:pt x="10818645" y="0"/>
                </a:lnTo>
                <a:lnTo>
                  <a:pt x="10818645" y="7750084"/>
                </a:lnTo>
                <a:lnTo>
                  <a:pt x="0" y="7750084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8" name="Freeform 8">
            <a:extLst>
              <a:ext uri="{FF2B5EF4-FFF2-40B4-BE49-F238E27FC236}">
                <a16:creationId xmlns:a16="http://schemas.microsoft.com/office/drawing/2014/main" id="{1CC1482A-B9BE-DB2F-0187-E24274463189}"/>
              </a:ext>
            </a:extLst>
          </p:cNvPr>
          <p:cNvSpPr/>
          <p:nvPr/>
        </p:nvSpPr>
        <p:spPr>
          <a:xfrm flipH="1">
            <a:off x="617096" y="4240949"/>
            <a:ext cx="4678132" cy="5593419"/>
          </a:xfrm>
          <a:custGeom>
            <a:avLst/>
            <a:gdLst/>
            <a:ahLst/>
            <a:cxnLst/>
            <a:rect l="l" t="t" r="r" b="b"/>
            <a:pathLst>
              <a:path w="7017198" h="8390128">
                <a:moveTo>
                  <a:pt x="7017198" y="0"/>
                </a:moveTo>
                <a:lnTo>
                  <a:pt x="0" y="0"/>
                </a:lnTo>
                <a:lnTo>
                  <a:pt x="0" y="8390129"/>
                </a:lnTo>
                <a:lnTo>
                  <a:pt x="7017198" y="8390129"/>
                </a:lnTo>
                <a:lnTo>
                  <a:pt x="7017198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9" name="Group 9">
            <a:extLst>
              <a:ext uri="{FF2B5EF4-FFF2-40B4-BE49-F238E27FC236}">
                <a16:creationId xmlns:a16="http://schemas.microsoft.com/office/drawing/2014/main" id="{C8A20522-FD9C-3E55-C906-D4365D0BE5B8}"/>
              </a:ext>
            </a:extLst>
          </p:cNvPr>
          <p:cNvGrpSpPr/>
          <p:nvPr/>
        </p:nvGrpSpPr>
        <p:grpSpPr>
          <a:xfrm>
            <a:off x="685800" y="2794994"/>
            <a:ext cx="5227855" cy="1155112"/>
            <a:chOff x="0" y="0"/>
            <a:chExt cx="2065325" cy="456341"/>
          </a:xfrm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050C4B34-DE3D-E5F6-F179-6AAA65A4000A}"/>
                </a:ext>
              </a:extLst>
            </p:cNvPr>
            <p:cNvSpPr/>
            <p:nvPr/>
          </p:nvSpPr>
          <p:spPr>
            <a:xfrm>
              <a:off x="0" y="0"/>
              <a:ext cx="2065325" cy="456341"/>
            </a:xfrm>
            <a:custGeom>
              <a:avLst/>
              <a:gdLst/>
              <a:ahLst/>
              <a:cxnLst/>
              <a:rect l="l" t="t" r="r" b="b"/>
              <a:pathLst>
                <a:path w="2065325" h="456341">
                  <a:moveTo>
                    <a:pt x="50351" y="0"/>
                  </a:moveTo>
                  <a:lnTo>
                    <a:pt x="2014975" y="0"/>
                  </a:lnTo>
                  <a:cubicBezTo>
                    <a:pt x="2028329" y="0"/>
                    <a:pt x="2041136" y="5305"/>
                    <a:pt x="2050578" y="14747"/>
                  </a:cubicBezTo>
                  <a:cubicBezTo>
                    <a:pt x="2060021" y="24190"/>
                    <a:pt x="2065325" y="36997"/>
                    <a:pt x="2065325" y="50351"/>
                  </a:cubicBezTo>
                  <a:lnTo>
                    <a:pt x="2065325" y="405990"/>
                  </a:lnTo>
                  <a:cubicBezTo>
                    <a:pt x="2065325" y="433798"/>
                    <a:pt x="2042783" y="456341"/>
                    <a:pt x="2014975" y="456341"/>
                  </a:cubicBezTo>
                  <a:lnTo>
                    <a:pt x="50351" y="456341"/>
                  </a:lnTo>
                  <a:cubicBezTo>
                    <a:pt x="22543" y="456341"/>
                    <a:pt x="0" y="433798"/>
                    <a:pt x="0" y="405990"/>
                  </a:cubicBezTo>
                  <a:lnTo>
                    <a:pt x="0" y="50351"/>
                  </a:lnTo>
                  <a:cubicBezTo>
                    <a:pt x="0" y="22543"/>
                    <a:pt x="22543" y="0"/>
                    <a:pt x="50351" y="0"/>
                  </a:cubicBezTo>
                  <a:close/>
                </a:path>
              </a:pathLst>
            </a:custGeom>
            <a:solidFill>
              <a:srgbClr val="FFBD59"/>
            </a:solidFill>
            <a:ln w="38100" cap="rnd">
              <a:solidFill>
                <a:srgbClr val="1F221F"/>
              </a:solidFill>
              <a:prstDash val="solid"/>
              <a:round/>
            </a:ln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11" name="TextBox 11">
              <a:extLst>
                <a:ext uri="{FF2B5EF4-FFF2-40B4-BE49-F238E27FC236}">
                  <a16:creationId xmlns:a16="http://schemas.microsoft.com/office/drawing/2014/main" id="{C5BBABE1-C103-60D0-0096-C6726209EF3E}"/>
                </a:ext>
              </a:extLst>
            </p:cNvPr>
            <p:cNvSpPr txBox="1"/>
            <p:nvPr/>
          </p:nvSpPr>
          <p:spPr>
            <a:xfrm>
              <a:off x="0" y="-28575"/>
              <a:ext cx="2065325" cy="484916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149"/>
                </a:lnSpc>
                <a:spcBef>
                  <a:spcPct val="0"/>
                </a:spcBef>
              </a:pPr>
              <a:endParaRPr sz="1200"/>
            </a:p>
          </p:txBody>
        </p:sp>
      </p:grpSp>
      <p:sp>
        <p:nvSpPr>
          <p:cNvPr id="12" name="Freeform 12">
            <a:extLst>
              <a:ext uri="{FF2B5EF4-FFF2-40B4-BE49-F238E27FC236}">
                <a16:creationId xmlns:a16="http://schemas.microsoft.com/office/drawing/2014/main" id="{7CFBB76A-60D7-112E-FE44-D183588AF4E1}"/>
              </a:ext>
            </a:extLst>
          </p:cNvPr>
          <p:cNvSpPr/>
          <p:nvPr/>
        </p:nvSpPr>
        <p:spPr>
          <a:xfrm rot="264793">
            <a:off x="11000590" y="747223"/>
            <a:ext cx="487574" cy="487574"/>
          </a:xfrm>
          <a:custGeom>
            <a:avLst/>
            <a:gdLst/>
            <a:ahLst/>
            <a:cxnLst/>
            <a:rect l="l" t="t" r="r" b="b"/>
            <a:pathLst>
              <a:path w="731361" h="731361">
                <a:moveTo>
                  <a:pt x="0" y="0"/>
                </a:moveTo>
                <a:lnTo>
                  <a:pt x="731361" y="0"/>
                </a:lnTo>
                <a:lnTo>
                  <a:pt x="731361" y="731361"/>
                </a:lnTo>
                <a:lnTo>
                  <a:pt x="0" y="731361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13" name="TextBox 13">
            <a:extLst>
              <a:ext uri="{FF2B5EF4-FFF2-40B4-BE49-F238E27FC236}">
                <a16:creationId xmlns:a16="http://schemas.microsoft.com/office/drawing/2014/main" id="{8ACBF618-C107-BF04-7DDB-9C13AB3E9BA9}"/>
              </a:ext>
            </a:extLst>
          </p:cNvPr>
          <p:cNvSpPr txBox="1"/>
          <p:nvPr/>
        </p:nvSpPr>
        <p:spPr>
          <a:xfrm>
            <a:off x="820250" y="3097459"/>
            <a:ext cx="1728599" cy="2464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80"/>
              </a:lnSpc>
            </a:pPr>
            <a:r>
              <a:rPr lang="en-US" sz="1880" b="1">
                <a:solidFill>
                  <a:srgbClr val="24201D"/>
                </a:solidFill>
                <a:latin typeface="Open Sauce Medium"/>
                <a:ea typeface="Open Sauce Medium"/>
                <a:cs typeface="Open Sauce Medium"/>
                <a:sym typeface="Open Sauce Medium"/>
              </a:rPr>
              <a:t>Contact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1F7E8131-A862-D3F8-BFFE-11ACA7A62B7E}"/>
              </a:ext>
            </a:extLst>
          </p:cNvPr>
          <p:cNvSpPr txBox="1"/>
          <p:nvPr/>
        </p:nvSpPr>
        <p:spPr>
          <a:xfrm>
            <a:off x="2159664" y="3027994"/>
            <a:ext cx="3135565" cy="4900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80"/>
              </a:lnSpc>
            </a:pPr>
            <a:r>
              <a:rPr lang="en-US" sz="1880" b="1">
                <a:solidFill>
                  <a:srgbClr val="24201D"/>
                </a:solidFill>
                <a:latin typeface="Open Sauce Bold"/>
                <a:ea typeface="Open Sauce Bold"/>
                <a:cs typeface="Open Sauce Bold"/>
                <a:sym typeface="Open Sauce Bold"/>
              </a:rPr>
              <a:t>kmoreno@northshore.org and arivera@northshore.org</a:t>
            </a:r>
          </a:p>
        </p:txBody>
      </p:sp>
    </p:spTree>
    <p:extLst>
      <p:ext uri="{BB962C8B-B14F-4D97-AF65-F5344CB8AC3E}">
        <p14:creationId xmlns:p14="http://schemas.microsoft.com/office/powerpoint/2010/main" val="32849783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13F6DC-5F68-8C76-3268-470E3F4A34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0431AA-5BB9-3A5A-EAE4-0D5976D43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403" y="1410586"/>
            <a:ext cx="10393193" cy="2014679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ESSI Initiative Aims and Progress Overview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0AEDAB-5FDE-9BD1-6B5B-95164CE5359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DAB925-DCA6-0911-C6E6-43C2829FBBF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89331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1628790" y="-189057"/>
            <a:ext cx="9531829" cy="1334873"/>
          </a:xfrm>
        </p:spPr>
        <p:txBody>
          <a:bodyPr/>
          <a:lstStyle/>
          <a:p>
            <a:pPr algn="ctr"/>
            <a:r>
              <a:rPr lang="en-US" sz="4800">
                <a:ea typeface="Lato Medium"/>
                <a:cs typeface="Lato Medium"/>
              </a:rPr>
              <a:t>ESSI Initiative Aims</a:t>
            </a:r>
            <a:endParaRPr lang="en-US" sz="4800"/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A28016B6-6D80-89E3-91AF-D930E421AD61}"/>
              </a:ext>
            </a:extLst>
          </p:cNvPr>
          <p:cNvGrpSpPr/>
          <p:nvPr/>
        </p:nvGrpSpPr>
        <p:grpSpPr>
          <a:xfrm>
            <a:off x="608847" y="787285"/>
            <a:ext cx="11250165" cy="1346928"/>
            <a:chOff x="0" y="-57150"/>
            <a:chExt cx="2879117" cy="69769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966BE466-0331-E647-C2F5-1581C924B039}"/>
                </a:ext>
              </a:extLst>
            </p:cNvPr>
            <p:cNvSpPr/>
            <p:nvPr/>
          </p:nvSpPr>
          <p:spPr>
            <a:xfrm>
              <a:off x="0" y="0"/>
              <a:ext cx="2879117" cy="640540"/>
            </a:xfrm>
            <a:custGeom>
              <a:avLst/>
              <a:gdLst/>
              <a:ahLst/>
              <a:cxnLst/>
              <a:rect l="l" t="t" r="r" b="b"/>
              <a:pathLst>
                <a:path w="2879117" h="640540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604421"/>
                  </a:lnTo>
                  <a:cubicBezTo>
                    <a:pt x="2879117" y="614001"/>
                    <a:pt x="2875312" y="623188"/>
                    <a:pt x="2868538" y="629961"/>
                  </a:cubicBezTo>
                  <a:cubicBezTo>
                    <a:pt x="2861764" y="636735"/>
                    <a:pt x="2852578" y="640540"/>
                    <a:pt x="2842998" y="640540"/>
                  </a:cubicBezTo>
                  <a:lnTo>
                    <a:pt x="36119" y="640540"/>
                  </a:lnTo>
                  <a:cubicBezTo>
                    <a:pt x="26539" y="640540"/>
                    <a:pt x="17353" y="636735"/>
                    <a:pt x="10579" y="629961"/>
                  </a:cubicBezTo>
                  <a:cubicBezTo>
                    <a:pt x="3805" y="623188"/>
                    <a:pt x="0" y="614001"/>
                    <a:pt x="0" y="604421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604E516-649C-1FD9-2519-CEA85AA2096B}"/>
                </a:ext>
              </a:extLst>
            </p:cNvPr>
            <p:cNvSpPr txBox="1"/>
            <p:nvPr/>
          </p:nvSpPr>
          <p:spPr>
            <a:xfrm>
              <a:off x="0" y="-57150"/>
              <a:ext cx="2879117" cy="69769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6" name="Group 6">
            <a:extLst>
              <a:ext uri="{FF2B5EF4-FFF2-40B4-BE49-F238E27FC236}">
                <a16:creationId xmlns:a16="http://schemas.microsoft.com/office/drawing/2014/main" id="{80963B6F-3E16-814E-7593-2BE3F5176BAA}"/>
              </a:ext>
            </a:extLst>
          </p:cNvPr>
          <p:cNvGrpSpPr/>
          <p:nvPr/>
        </p:nvGrpSpPr>
        <p:grpSpPr>
          <a:xfrm>
            <a:off x="608847" y="2215964"/>
            <a:ext cx="11288265" cy="1272328"/>
            <a:chOff x="0" y="-57150"/>
            <a:chExt cx="2879117" cy="547803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080C1E4-8D81-DC7D-733F-543A19CACC97}"/>
                </a:ext>
              </a:extLst>
            </p:cNvPr>
            <p:cNvSpPr/>
            <p:nvPr/>
          </p:nvSpPr>
          <p:spPr>
            <a:xfrm>
              <a:off x="0" y="0"/>
              <a:ext cx="2879117" cy="490653"/>
            </a:xfrm>
            <a:custGeom>
              <a:avLst/>
              <a:gdLst/>
              <a:ahLst/>
              <a:cxnLst/>
              <a:rect l="l" t="t" r="r" b="b"/>
              <a:pathLst>
                <a:path w="2879117" h="490653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454535"/>
                  </a:lnTo>
                  <a:cubicBezTo>
                    <a:pt x="2879117" y="464114"/>
                    <a:pt x="2875312" y="473301"/>
                    <a:pt x="2868538" y="480074"/>
                  </a:cubicBezTo>
                  <a:cubicBezTo>
                    <a:pt x="2861764" y="486848"/>
                    <a:pt x="2852578" y="490653"/>
                    <a:pt x="2842998" y="490653"/>
                  </a:cubicBezTo>
                  <a:lnTo>
                    <a:pt x="36119" y="490653"/>
                  </a:lnTo>
                  <a:cubicBezTo>
                    <a:pt x="26539" y="490653"/>
                    <a:pt x="17353" y="486848"/>
                    <a:pt x="10579" y="480074"/>
                  </a:cubicBezTo>
                  <a:cubicBezTo>
                    <a:pt x="3805" y="473301"/>
                    <a:pt x="0" y="464114"/>
                    <a:pt x="0" y="454535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41866C53-10BB-5C7A-FBB8-8B559FBF4543}"/>
                </a:ext>
              </a:extLst>
            </p:cNvPr>
            <p:cNvSpPr txBox="1"/>
            <p:nvPr/>
          </p:nvSpPr>
          <p:spPr>
            <a:xfrm>
              <a:off x="0" y="-57150"/>
              <a:ext cx="2879117" cy="547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57B897C2-5645-67EB-E870-DDA8EEAA309C}"/>
              </a:ext>
            </a:extLst>
          </p:cNvPr>
          <p:cNvGrpSpPr/>
          <p:nvPr/>
        </p:nvGrpSpPr>
        <p:grpSpPr>
          <a:xfrm>
            <a:off x="91329" y="1152079"/>
            <a:ext cx="812800" cy="825500"/>
            <a:chOff x="0" y="0"/>
            <a:chExt cx="812800" cy="81280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87BADC8-1879-2359-C52E-E819876B32F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1">
              <a:extLst>
                <a:ext uri="{FF2B5EF4-FFF2-40B4-BE49-F238E27FC236}">
                  <a16:creationId xmlns:a16="http://schemas.microsoft.com/office/drawing/2014/main" id="{AF32047E-EB6B-BD4B-76DD-7D47B980544C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26" name="TextBox 15">
            <a:extLst>
              <a:ext uri="{FF2B5EF4-FFF2-40B4-BE49-F238E27FC236}">
                <a16:creationId xmlns:a16="http://schemas.microsoft.com/office/drawing/2014/main" id="{E9780070-BCB0-A4DC-93F5-6A72106D04EE}"/>
              </a:ext>
            </a:extLst>
          </p:cNvPr>
          <p:cNvSpPr txBox="1"/>
          <p:nvPr/>
        </p:nvSpPr>
        <p:spPr>
          <a:xfrm>
            <a:off x="992051" y="1158360"/>
            <a:ext cx="10796527" cy="951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  <a:p>
            <a:pPr>
              <a:lnSpc>
                <a:spcPts val="2167"/>
              </a:lnSpc>
            </a:pPr>
            <a:endParaRPr lang="en-US" sz="2000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80% of infants will be discharged from ILPQC hospitals with a completed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886026" y="4618936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387344" y="4822963"/>
            <a:ext cx="2028316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886027" y="5385726"/>
            <a:ext cx="3150228" cy="55364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836786" y="5562784"/>
            <a:ext cx="3206735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888227" y="3819390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9869AD74-D8A3-0B44-10F4-685B412FCB24}"/>
              </a:ext>
            </a:extLst>
          </p:cNvPr>
          <p:cNvSpPr txBox="1"/>
          <p:nvPr/>
        </p:nvSpPr>
        <p:spPr>
          <a:xfrm>
            <a:off x="298855" y="947398"/>
            <a:ext cx="410448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488052" y="4008485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312052" y="3863840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311686" y="4691360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314936" y="5661147"/>
            <a:ext cx="7457964" cy="2861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ommunication to primary care provider completed.</a:t>
            </a:r>
            <a:endParaRPr lang="en-US" sz="2200">
              <a:cs typeface="Calibri"/>
            </a:endParaRP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59DCCF77-1BDF-BB49-8752-58A43F365FAC}"/>
              </a:ext>
            </a:extLst>
          </p:cNvPr>
          <p:cNvGrpSpPr/>
          <p:nvPr/>
        </p:nvGrpSpPr>
        <p:grpSpPr>
          <a:xfrm>
            <a:off x="91329" y="2498278"/>
            <a:ext cx="812800" cy="825500"/>
            <a:chOff x="0" y="0"/>
            <a:chExt cx="812800" cy="812800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E15AE669-9885-B6BE-D637-60B38E0F95F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2EC913AF-9BAA-D267-4DAB-C2EAAC071B91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42" name="TextBox 23">
            <a:extLst>
              <a:ext uri="{FF2B5EF4-FFF2-40B4-BE49-F238E27FC236}">
                <a16:creationId xmlns:a16="http://schemas.microsoft.com/office/drawing/2014/main" id="{FB430A34-582F-067B-AEF5-DB4764FC6C5A}"/>
              </a:ext>
            </a:extLst>
          </p:cNvPr>
          <p:cNvSpPr txBox="1"/>
          <p:nvPr/>
        </p:nvSpPr>
        <p:spPr>
          <a:xfrm>
            <a:off x="290166" y="2295809"/>
            <a:ext cx="434023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2</a:t>
            </a: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7560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8088" y="1844301"/>
            <a:ext cx="2803712" cy="1347974"/>
          </a:xfrm>
        </p:spPr>
        <p:txBody>
          <a:bodyPr/>
          <a:lstStyle/>
          <a:p>
            <a:pPr algn="ctr"/>
            <a:r>
              <a:rPr lang="en-US" sz="4000">
                <a:ea typeface="Lato Medium"/>
                <a:cs typeface="Lato Medium"/>
              </a:rPr>
              <a:t>Key Driver Diagram</a:t>
            </a:r>
            <a:endParaRPr lang="en-US" sz="4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03976" y="604258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/>
              <a:t>By December 2025: </a:t>
            </a:r>
            <a:endParaRPr lang="en-US" sz="1500">
              <a:ea typeface="Calibri"/>
              <a:cs typeface="Calibri"/>
            </a:endParaRPr>
          </a:p>
          <a:p>
            <a:endParaRPr lang="en-US" sz="1500">
              <a:ea typeface="Calibri"/>
              <a:cs typeface="Calibri"/>
            </a:endParaRPr>
          </a:p>
          <a:p>
            <a:r>
              <a:rPr lang="en-US" sz="1500"/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ea typeface="Calibri"/>
              <a:cs typeface="Calibri"/>
            </a:endParaRPr>
          </a:p>
          <a:p>
            <a:r>
              <a:rPr lang="en-US" sz="1500"/>
              <a:t>2. Greater than 80% of infants will be discharged from ILPQC hospitals with a completed ESSI bundle. 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Parent and Caregiver Empowerment</a:t>
            </a:r>
            <a:endParaRPr lang="en-US" sz="1600"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Community </a:t>
            </a:r>
            <a:r>
              <a:rPr lang="en-US" sz="1600">
                <a:solidFill>
                  <a:srgbClr val="FF0000"/>
                </a:solidFill>
              </a:rPr>
              <a:t> </a:t>
            </a:r>
          </a:p>
          <a:p>
            <a:pPr algn="ctr"/>
            <a:r>
              <a:rPr lang="en-US" sz="1600">
                <a:solidFill>
                  <a:schemeClr val="tx1"/>
                </a:solidFill>
              </a:rPr>
              <a:t>Partnerships</a:t>
            </a:r>
            <a:endParaRPr lang="en-US" sz="16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Parent and Caregiver Experience Prioritization</a:t>
            </a:r>
            <a:endParaRPr lang="en-US" sz="1400" err="1"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pectful Parent and Caregiver Partnerships</a:t>
            </a:r>
            <a:endParaRPr lang="en-US" sz="1400">
              <a:solidFill>
                <a:srgbClr val="FF0000"/>
              </a:solidFill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Awareness</a:t>
            </a:r>
            <a:endParaRPr lang="en-US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</a:rPr>
              <a:t>SDoH</a:t>
            </a:r>
            <a:r>
              <a:rPr lang="en-US" sz="1400">
                <a:solidFill>
                  <a:schemeClr val="tx1"/>
                </a:solidFill>
              </a:rPr>
              <a:t>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Dissemination of Stratified Data</a:t>
            </a:r>
            <a:endParaRPr lang="en-US" sz="140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Application of Data to Address Inequities</a:t>
            </a:r>
            <a:endParaRPr lang="en-US" sz="1400"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Awareness</a:t>
            </a:r>
            <a:r>
              <a:rPr lang="en-US" sz="1400"/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Readiness</a:t>
            </a:r>
            <a:r>
              <a:rPr lang="en-US" sz="1400"/>
              <a:t>: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Transfer of Care</a:t>
            </a:r>
            <a:r>
              <a:rPr lang="en-US" sz="1400"/>
              <a:t>: ESSI Newborn Care Plan (Awareness &amp; Readiness) documented in the discharge </a:t>
            </a:r>
            <a:endParaRPr lang="en-US" sz="1400">
              <a:cs typeface="Calibri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724388" y="3632123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245437" y="3426147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245655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TextBox 3"/>
          <p:cNvSpPr txBox="1"/>
          <p:nvPr/>
        </p:nvSpPr>
        <p:spPr>
          <a:xfrm>
            <a:off x="2159426" y="619407"/>
            <a:ext cx="7873313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sz="2000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Standardized Provider and Hospital Staff Implicit Bias Education</a:t>
            </a: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275" y="337001"/>
            <a:ext cx="11094607" cy="6511813"/>
          </a:xfrm>
          <a:prstGeom prst="rect">
            <a:avLst/>
          </a:prstGeom>
        </p:spPr>
      </p:pic>
      <p:sp>
        <p:nvSpPr>
          <p:cNvPr id="5" name="Freeform 5"/>
          <p:cNvSpPr/>
          <p:nvPr/>
        </p:nvSpPr>
        <p:spPr>
          <a:xfrm>
            <a:off x="10883212" y="0"/>
            <a:ext cx="1245976" cy="625757"/>
          </a:xfrm>
          <a:custGeom>
            <a:avLst/>
            <a:gdLst/>
            <a:ahLst/>
            <a:cxnLst/>
            <a:rect l="l" t="t" r="r" b="b"/>
            <a:pathLst>
              <a:path w="1868964" h="938635">
                <a:moveTo>
                  <a:pt x="0" y="0"/>
                </a:moveTo>
                <a:lnTo>
                  <a:pt x="1868964" y="0"/>
                </a:lnTo>
                <a:lnTo>
                  <a:pt x="1868964" y="938635"/>
                </a:lnTo>
                <a:lnTo>
                  <a:pt x="0" y="938635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6" name="TextBox 6"/>
          <p:cNvSpPr txBox="1"/>
          <p:nvPr/>
        </p:nvSpPr>
        <p:spPr>
          <a:xfrm>
            <a:off x="247500" y="6252050"/>
            <a:ext cx="11241526" cy="73096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19"/>
              </a:lnSpc>
            </a:pPr>
            <a:r>
              <a:rPr lang="en-US" sz="1600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Hospital has standardized provider and hospital staff education about listening to parents and caregivers, providing respectful care and building trust, addressing implicit bias and engaging in anti-racism.</a:t>
            </a:r>
          </a:p>
          <a:p>
            <a:pPr algn="ctr">
              <a:lnSpc>
                <a:spcPts val="1919"/>
              </a:lnSpc>
            </a:pPr>
            <a:endParaRPr lang="en-US" sz="1600">
              <a:solidFill>
                <a:srgbClr val="813158"/>
              </a:solidFill>
              <a:latin typeface="Helvetica Now"/>
              <a:ea typeface="Helvetica Now"/>
              <a:cs typeface="Helvetica Now"/>
              <a:sym typeface="Helvetica Now"/>
            </a:endParaRPr>
          </a:p>
        </p:txBody>
      </p:sp>
      <p:sp>
        <p:nvSpPr>
          <p:cNvPr id="7" name="TextBox 7"/>
          <p:cNvSpPr txBox="1"/>
          <p:nvPr/>
        </p:nvSpPr>
        <p:spPr>
          <a:xfrm rot="-5400000">
            <a:off x="-615472" y="3242519"/>
            <a:ext cx="1992645" cy="2753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60"/>
              </a:lnSpc>
            </a:pPr>
            <a:r>
              <a:rPr lang="en-US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% of hospitals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TextBox 3"/>
          <p:cNvSpPr txBox="1"/>
          <p:nvPr/>
        </p:nvSpPr>
        <p:spPr>
          <a:xfrm>
            <a:off x="1762905" y="530225"/>
            <a:ext cx="8506972" cy="3136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80"/>
              </a:lnSpc>
            </a:pPr>
            <a:r>
              <a:rPr lang="en-US" sz="2067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Standardized Safe Sleep Education​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246063" y="6169500"/>
            <a:ext cx="11537783" cy="4558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760"/>
              </a:lnSpc>
            </a:pPr>
            <a:r>
              <a:rPr lang="en-US" sz="1467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Hospital has standardized provider and hospital staff education about the importance of a safe sleep environment and engaging in meaningful, culturally appropriate, respectful, nonjudgmental conversations with parents or caregivers about safe sleep. </a:t>
            </a:r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187" y="299105"/>
            <a:ext cx="11497535" cy="6631738"/>
          </a:xfrm>
          <a:prstGeom prst="rect">
            <a:avLst/>
          </a:prstGeom>
        </p:spPr>
      </p:pic>
      <p:sp>
        <p:nvSpPr>
          <p:cNvPr id="6" name="Freeform 6"/>
          <p:cNvSpPr/>
          <p:nvPr/>
        </p:nvSpPr>
        <p:spPr>
          <a:xfrm>
            <a:off x="10946024" y="60044"/>
            <a:ext cx="1245976" cy="625757"/>
          </a:xfrm>
          <a:custGeom>
            <a:avLst/>
            <a:gdLst/>
            <a:ahLst/>
            <a:cxnLst/>
            <a:rect l="l" t="t" r="r" b="b"/>
            <a:pathLst>
              <a:path w="1868964" h="938635">
                <a:moveTo>
                  <a:pt x="0" y="0"/>
                </a:moveTo>
                <a:lnTo>
                  <a:pt x="1868964" y="0"/>
                </a:lnTo>
                <a:lnTo>
                  <a:pt x="1868964" y="938635"/>
                </a:lnTo>
                <a:lnTo>
                  <a:pt x="0" y="938635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7" name="TextBox 7"/>
          <p:cNvSpPr txBox="1"/>
          <p:nvPr/>
        </p:nvSpPr>
        <p:spPr>
          <a:xfrm rot="-5400000">
            <a:off x="-615472" y="3242519"/>
            <a:ext cx="1992645" cy="2753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60"/>
              </a:lnSpc>
            </a:pPr>
            <a:r>
              <a:rPr lang="en-US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% of hospitals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TextBox 3"/>
          <p:cNvSpPr txBox="1"/>
          <p:nvPr/>
        </p:nvSpPr>
        <p:spPr>
          <a:xfrm>
            <a:off x="1886655" y="685800"/>
            <a:ext cx="8506972" cy="3136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80"/>
              </a:lnSpc>
            </a:pPr>
            <a:r>
              <a:rPr lang="en-US" sz="2067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Standardized Practice of Promoting a Safe Sleep Environment​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247499" y="6194492"/>
            <a:ext cx="11785283" cy="73096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19"/>
              </a:lnSpc>
            </a:pPr>
            <a:r>
              <a:rPr lang="en-US" sz="1600" dirty="0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Hospital has a standardized practice of promoting a safe sleep environment in the hospital setting in accordance with the 2022 AAP Recommendations.  </a:t>
            </a:r>
          </a:p>
          <a:p>
            <a:pPr algn="ctr">
              <a:lnSpc>
                <a:spcPts val="1919"/>
              </a:lnSpc>
            </a:pPr>
            <a:endParaRPr lang="en-US" sz="1600" dirty="0">
              <a:solidFill>
                <a:srgbClr val="813158"/>
              </a:solidFill>
              <a:latin typeface="Helvetica Now"/>
              <a:ea typeface="Helvetica Now"/>
              <a:cs typeface="Helvetica Now"/>
              <a:sym typeface="Helvetica Now"/>
            </a:endParaRPr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687"/>
          <a:stretch/>
        </p:blipFill>
        <p:spPr>
          <a:xfrm>
            <a:off x="345795" y="448174"/>
            <a:ext cx="11497535" cy="5724026"/>
          </a:xfrm>
          <a:prstGeom prst="rect">
            <a:avLst/>
          </a:prstGeom>
        </p:spPr>
      </p:pic>
      <p:sp>
        <p:nvSpPr>
          <p:cNvPr id="7" name="TextBox 7"/>
          <p:cNvSpPr txBox="1"/>
          <p:nvPr/>
        </p:nvSpPr>
        <p:spPr>
          <a:xfrm rot="-5400000">
            <a:off x="-615472" y="3242519"/>
            <a:ext cx="1992645" cy="2753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60"/>
              </a:lnSpc>
            </a:pPr>
            <a:r>
              <a:rPr lang="en-US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% of hospital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noFill/>
        </p:spPr>
        <p:txBody>
          <a:bodyPr>
            <a:normAutofit/>
          </a:bodyPr>
          <a:lstStyle/>
          <a:p>
            <a:r>
              <a:rPr lang="en-US" altLang="en-US" sz="4800">
                <a:ea typeface="Lato Medium"/>
                <a:cs typeface="Lato Medium"/>
              </a:rPr>
              <a:t>Overview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"/>
          </p:nvPr>
        </p:nvSpPr>
        <p:spPr>
          <a:xfrm>
            <a:off x="504159" y="1720370"/>
            <a:ext cx="7489719" cy="4948346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 marL="457200" lvl="1" indent="0">
              <a:buClr>
                <a:srgbClr val="004990"/>
              </a:buClr>
              <a:buNone/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0B2A739-51C3-9CBF-7F6C-3EE69AAB6035}"/>
              </a:ext>
            </a:extLst>
          </p:cNvPr>
          <p:cNvSpPr txBox="1">
            <a:spLocks/>
          </p:cNvSpPr>
          <p:nvPr/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>
                <a:ea typeface="Lato"/>
                <a:cs typeface="Lato"/>
              </a:rPr>
              <a:t>Face-to-Face Conference and ESSI “On the Path to QI Excellence” Award</a:t>
            </a:r>
          </a:p>
          <a:p>
            <a:r>
              <a:rPr lang="en-US" sz="3200" dirty="0">
                <a:ea typeface="Lato"/>
                <a:cs typeface="Lato"/>
              </a:rPr>
              <a:t>ESSI Initiative Aims and Progress Overview</a:t>
            </a:r>
          </a:p>
          <a:p>
            <a:r>
              <a:rPr lang="en-US" sz="3200" dirty="0">
                <a:ea typeface="Lato"/>
                <a:cs typeface="Lato"/>
              </a:rPr>
              <a:t>Building Relationships with Community Organizations</a:t>
            </a:r>
          </a:p>
          <a:p>
            <a:r>
              <a:rPr lang="en-US" sz="3200" dirty="0">
                <a:ea typeface="Lato"/>
                <a:cs typeface="Lato"/>
              </a:rPr>
              <a:t>Community Corner: All about WIC</a:t>
            </a:r>
          </a:p>
          <a:p>
            <a:r>
              <a:rPr lang="en-US" sz="3200" dirty="0">
                <a:ea typeface="Lato"/>
                <a:cs typeface="Lato"/>
              </a:rPr>
              <a:t>Team Talk: Mount Sinai</a:t>
            </a:r>
          </a:p>
          <a:p>
            <a:endParaRPr lang="en-US" sz="3200" dirty="0">
              <a:ea typeface="Lato"/>
              <a:cs typeface="Lato"/>
            </a:endParaRPr>
          </a:p>
          <a:p>
            <a:endParaRPr lang="en-US" sz="3200" dirty="0"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40446910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TextBox 3"/>
          <p:cNvSpPr txBox="1"/>
          <p:nvPr/>
        </p:nvSpPr>
        <p:spPr>
          <a:xfrm>
            <a:off x="1663407" y="599499"/>
            <a:ext cx="8506972" cy="3136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80"/>
              </a:lnSpc>
            </a:pPr>
            <a:r>
              <a:rPr lang="en-US" sz="2067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Safe Sleep Policy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247501" y="6314482"/>
            <a:ext cx="11537783" cy="2512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99"/>
              </a:lnSpc>
            </a:pPr>
            <a:r>
              <a:rPr lang="en-US" sz="1666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Hospital has a policy in place for safe sleep practices reflective of the 2022 AAP Recommendations.</a:t>
            </a:r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511" y="327604"/>
            <a:ext cx="11384912" cy="6566777"/>
          </a:xfrm>
          <a:prstGeom prst="rect">
            <a:avLst/>
          </a:prstGeom>
        </p:spPr>
      </p:pic>
      <p:sp>
        <p:nvSpPr>
          <p:cNvPr id="6" name="Freeform 6"/>
          <p:cNvSpPr/>
          <p:nvPr/>
        </p:nvSpPr>
        <p:spPr>
          <a:xfrm>
            <a:off x="10883212" y="129318"/>
            <a:ext cx="1245976" cy="625757"/>
          </a:xfrm>
          <a:custGeom>
            <a:avLst/>
            <a:gdLst/>
            <a:ahLst/>
            <a:cxnLst/>
            <a:rect l="l" t="t" r="r" b="b"/>
            <a:pathLst>
              <a:path w="1868964" h="938635">
                <a:moveTo>
                  <a:pt x="0" y="0"/>
                </a:moveTo>
                <a:lnTo>
                  <a:pt x="1868964" y="0"/>
                </a:lnTo>
                <a:lnTo>
                  <a:pt x="1868964" y="938635"/>
                </a:lnTo>
                <a:lnTo>
                  <a:pt x="0" y="938635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7" name="TextBox 7"/>
          <p:cNvSpPr txBox="1"/>
          <p:nvPr/>
        </p:nvSpPr>
        <p:spPr>
          <a:xfrm rot="-5400000">
            <a:off x="-615472" y="3242519"/>
            <a:ext cx="1992645" cy="2753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60"/>
              </a:lnSpc>
            </a:pPr>
            <a:r>
              <a:rPr lang="en-US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% of hospitals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3" name="TextBox 3"/>
          <p:cNvSpPr txBox="1"/>
          <p:nvPr/>
        </p:nvSpPr>
        <p:spPr>
          <a:xfrm>
            <a:off x="1663407" y="599499"/>
            <a:ext cx="8506972" cy="3136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80"/>
              </a:lnSpc>
            </a:pPr>
            <a:r>
              <a:rPr lang="en-US" sz="2067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Safe Sleep Education to Parents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243184" y="6106232"/>
            <a:ext cx="11537783" cy="5077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99"/>
              </a:lnSpc>
            </a:pPr>
            <a:r>
              <a:rPr lang="en-US" sz="1666" dirty="0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Hospital has a standardized process to provide parents or caregivers culturally responsive safe sleep education including awareness of potential challenges, modeling, and teach back opportunities during hospitalization.</a:t>
            </a:r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381"/>
          <a:stretch/>
        </p:blipFill>
        <p:spPr>
          <a:xfrm>
            <a:off x="393852" y="260859"/>
            <a:ext cx="11699791" cy="5845373"/>
          </a:xfrm>
          <a:prstGeom prst="rect">
            <a:avLst/>
          </a:prstGeom>
        </p:spPr>
      </p:pic>
      <p:sp>
        <p:nvSpPr>
          <p:cNvPr id="6" name="Freeform 6"/>
          <p:cNvSpPr/>
          <p:nvPr/>
        </p:nvSpPr>
        <p:spPr>
          <a:xfrm>
            <a:off x="10883212" y="284892"/>
            <a:ext cx="1245976" cy="625757"/>
          </a:xfrm>
          <a:custGeom>
            <a:avLst/>
            <a:gdLst/>
            <a:ahLst/>
            <a:cxnLst/>
            <a:rect l="l" t="t" r="r" b="b"/>
            <a:pathLst>
              <a:path w="1868964" h="938635">
                <a:moveTo>
                  <a:pt x="0" y="0"/>
                </a:moveTo>
                <a:lnTo>
                  <a:pt x="1868964" y="0"/>
                </a:lnTo>
                <a:lnTo>
                  <a:pt x="1868964" y="938636"/>
                </a:lnTo>
                <a:lnTo>
                  <a:pt x="0" y="938636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7" name="TextBox 7"/>
          <p:cNvSpPr txBox="1"/>
          <p:nvPr/>
        </p:nvSpPr>
        <p:spPr>
          <a:xfrm rot="-5400000">
            <a:off x="-615472" y="3242519"/>
            <a:ext cx="1992645" cy="2753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60"/>
              </a:lnSpc>
            </a:pPr>
            <a:r>
              <a:rPr lang="en-US">
                <a:solidFill>
                  <a:srgbClr val="813158"/>
                </a:solidFill>
                <a:latin typeface="Helvetica Now"/>
                <a:ea typeface="Helvetica Now"/>
                <a:cs typeface="Helvetica Now"/>
                <a:sym typeface="Helvetica Now"/>
              </a:rPr>
              <a:t>% of hospitals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8D607D-5DC1-BFC7-74F2-170537951D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aph with numbers and a line&#10;&#10;AI-generated content may be incorrect.">
            <a:extLst>
              <a:ext uri="{FF2B5EF4-FFF2-40B4-BE49-F238E27FC236}">
                <a16:creationId xmlns:a16="http://schemas.microsoft.com/office/drawing/2014/main" id="{64ADA2C4-511D-7A94-F40F-9E0A7CC7B0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5634" y="1201783"/>
            <a:ext cx="9820732" cy="4910366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0D3F642-3132-E7F9-9719-FE13AA817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745851"/>
            <a:ext cx="10972800" cy="1325563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US" dirty="0"/>
              <a:t>ESSI Bundle Completion</a:t>
            </a:r>
            <a:br>
              <a:rPr lang="en-US" dirty="0"/>
            </a:br>
            <a:r>
              <a:rPr lang="en-US" sz="2000" b="0" i="1" dirty="0"/>
              <a:t>Percent of charts audited that have a documented ESSI Bundle</a:t>
            </a:r>
          </a:p>
        </p:txBody>
      </p:sp>
    </p:spTree>
    <p:extLst>
      <p:ext uri="{BB962C8B-B14F-4D97-AF65-F5344CB8AC3E}">
        <p14:creationId xmlns:p14="http://schemas.microsoft.com/office/powerpoint/2010/main" val="9572708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440E87-140C-5A22-CE73-FD158330F6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5DC3976-DE87-D6B7-29AD-1161D71B1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12192000" cy="1731475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US" sz="2400" i="0" u="none" strike="noStrike" dirty="0">
                <a:effectLst/>
              </a:rPr>
              <a:t>Parents or caregivers reporting an understanding of safe sleep</a:t>
            </a:r>
            <a:r>
              <a:rPr lang="en-US" sz="2400" i="0" dirty="0">
                <a:effectLst/>
              </a:rPr>
              <a:t>​</a:t>
            </a:r>
            <a:br>
              <a:rPr lang="en-US" sz="2400" i="0" dirty="0">
                <a:effectLst/>
              </a:rPr>
            </a:br>
            <a:r>
              <a:rPr lang="en-US" sz="1600" b="0" i="1" u="none" strike="noStrike" dirty="0">
                <a:effectLst/>
              </a:rPr>
              <a:t>Percentage of charts audited where a parent or caregiver reports an understanding of safe sleep</a:t>
            </a:r>
            <a:r>
              <a:rPr lang="en-US" sz="1600" b="0" i="0" dirty="0">
                <a:effectLst/>
              </a:rPr>
              <a:t>​</a:t>
            </a:r>
            <a:endParaRPr lang="en-US" sz="1600" b="0" i="1" dirty="0"/>
          </a:p>
        </p:txBody>
      </p:sp>
      <p:pic>
        <p:nvPicPr>
          <p:cNvPr id="6" name="Picture 5" descr="A graph with numbers and a line&#10;&#10;AI-generated content may be incorrect.">
            <a:extLst>
              <a:ext uri="{FF2B5EF4-FFF2-40B4-BE49-F238E27FC236}">
                <a16:creationId xmlns:a16="http://schemas.microsoft.com/office/drawing/2014/main" id="{1E42A441-A0FF-3431-7F4F-DB224C24BAE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493" y="1731475"/>
            <a:ext cx="9472749" cy="456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3181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D37F2B-D5C2-FE55-F237-13093CC734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DCEFDFD-9C0E-7B09-A902-DB9AD6E62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12192000" cy="1731475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US" sz="2400" i="0" u="none" strike="noStrike" dirty="0">
                <a:effectLst/>
              </a:rPr>
              <a:t>Documentation of a conversation with parents or caregivers about adjustment to life with a newborn and safe sleep, and resources shared</a:t>
            </a:r>
            <a:br>
              <a:rPr lang="en-US" sz="1800" b="0" i="0" u="none" strike="noStrike" dirty="0">
                <a:effectLst/>
              </a:rPr>
            </a:br>
            <a:r>
              <a:rPr lang="en-US" sz="1600" b="0" i="1" u="none" strike="noStrike" dirty="0">
                <a:effectLst/>
              </a:rPr>
              <a:t>Percentage of charts audited where there is documentation of a conversation about adjustment to life with a newborn and safe sleep</a:t>
            </a:r>
            <a:r>
              <a:rPr lang="en-US" sz="1600" b="0" i="0" dirty="0">
                <a:effectLst/>
              </a:rPr>
              <a:t>​</a:t>
            </a:r>
            <a:endParaRPr lang="en-US" sz="1600" i="1" dirty="0"/>
          </a:p>
        </p:txBody>
      </p:sp>
      <p:pic>
        <p:nvPicPr>
          <p:cNvPr id="3" name="Picture 2" descr="A graph with numbers and a line&#10;&#10;AI-generated content may be incorrect.">
            <a:extLst>
              <a:ext uri="{FF2B5EF4-FFF2-40B4-BE49-F238E27FC236}">
                <a16:creationId xmlns:a16="http://schemas.microsoft.com/office/drawing/2014/main" id="{853642BD-46FA-6B95-CF60-0F3D1860B03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1118" y="1439997"/>
            <a:ext cx="9409763" cy="4712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9206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E3DBF0-17D8-851C-2C17-7BFE43B63F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679C050-D1EA-BE61-B04E-EAB5AF3D50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2071109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US" sz="2400" i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  <a:br>
              <a:rPr lang="en-US" sz="2400" i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i="0" u="none" strike="noStrike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DOH Screening and Linkage Documentation in Infant’s Chart​</a:t>
            </a:r>
            <a:r>
              <a:rPr lang="en-US" sz="2400" i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  <a:br>
              <a:rPr lang="en-US" sz="2400" i="0" u="none" strike="noStrike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b="0" i="1" u="none" strike="noStrike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ercentage of charts audited where there is documentation of SDOH screening and linkage (if positive screen)</a:t>
            </a:r>
            <a:endParaRPr lang="en-US" sz="1600" b="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 descr="A graph of a line and a line&#10;&#10;AI-generated content may be incorrect.">
            <a:extLst>
              <a:ext uri="{FF2B5EF4-FFF2-40B4-BE49-F238E27FC236}">
                <a16:creationId xmlns:a16="http://schemas.microsoft.com/office/drawing/2014/main" id="{86DA9192-EE29-252D-96DD-319C8AC2961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72492"/>
            <a:ext cx="11911342" cy="4545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6171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1A2120-DD45-D3BB-3008-163B48C392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EE0594-94EF-87DA-0E3B-11ECE143C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403" y="1410586"/>
            <a:ext cx="10393193" cy="2014679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Building Relationships with Community Organization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89523D-831E-6EDF-BDE7-0BF6442AF51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BC7FB9-6BCB-CCE1-8A36-305E245B866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971618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12D54C-2464-2AF3-6419-CA11A78A03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80287816-429A-1EC1-D4B0-70FC66F63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547" y="16087"/>
            <a:ext cx="11731721" cy="1720273"/>
          </a:xfrm>
          <a:solidFill>
            <a:schemeClr val="bg1"/>
          </a:solidFill>
        </p:spPr>
        <p:txBody>
          <a:bodyPr anchor="t">
            <a:normAutofit/>
          </a:bodyPr>
          <a:lstStyle/>
          <a:p>
            <a:r>
              <a:rPr lang="en-US" altLang="en-US" sz="3500" dirty="0">
                <a:ea typeface="Lato Medium"/>
                <a:cs typeface="Lato Medium"/>
              </a:rPr>
              <a:t>What is a Community-Based Organization (CBO)?</a:t>
            </a:r>
            <a:endParaRPr lang="en-US" altLang="en-US" sz="35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5EDF143-9C5D-7BCF-C6A9-203D3B639493}"/>
              </a:ext>
            </a:extLst>
          </p:cNvPr>
          <p:cNvSpPr txBox="1">
            <a:spLocks/>
          </p:cNvSpPr>
          <p:nvPr/>
        </p:nvSpPr>
        <p:spPr>
          <a:xfrm>
            <a:off x="459547" y="672544"/>
            <a:ext cx="10926619" cy="158042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500" dirty="0">
                <a:ea typeface="Lato"/>
                <a:cs typeface="Lato"/>
              </a:rPr>
              <a:t>Community-based organizations are oftentimes non-profit organizations that work at the local level to provide services to the communities and specific target audiences which improve a community's health and well-being.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64199445-122F-0011-A6FD-FE30FC2ED6DB}"/>
              </a:ext>
            </a:extLst>
          </p:cNvPr>
          <p:cNvSpPr txBox="1">
            <a:spLocks/>
          </p:cNvSpPr>
          <p:nvPr/>
        </p:nvSpPr>
        <p:spPr>
          <a:xfrm>
            <a:off x="459547" y="1937470"/>
            <a:ext cx="11046752" cy="28769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00"/>
              </a:spcBef>
              <a:spcAft>
                <a:spcPts val="500"/>
              </a:spcAft>
              <a:buNone/>
            </a:pPr>
            <a:r>
              <a:rPr lang="en-US" i="1" dirty="0">
                <a:ea typeface="Lato"/>
                <a:cs typeface="Lato"/>
              </a:rPr>
              <a:t>CBOs can include:</a:t>
            </a:r>
            <a:endParaRPr lang="en-US" i="1" dirty="0"/>
          </a:p>
          <a:p>
            <a:pPr marL="342900" indent="0">
              <a:spcBef>
                <a:spcPts val="500"/>
              </a:spcBef>
              <a:spcAft>
                <a:spcPts val="500"/>
              </a:spcAft>
              <a:buFont typeface="Calibri" panose="020B0604020202020204" pitchFamily="34" charset="0"/>
              <a:buChar char="-"/>
            </a:pPr>
            <a:r>
              <a:rPr lang="en-US" sz="2200" dirty="0">
                <a:ea typeface="Lato"/>
                <a:cs typeface="Lato"/>
              </a:rPr>
              <a:t>Food banks</a:t>
            </a:r>
          </a:p>
          <a:p>
            <a:pPr marL="342900" indent="0">
              <a:spcBef>
                <a:spcPts val="500"/>
              </a:spcBef>
              <a:spcAft>
                <a:spcPts val="500"/>
              </a:spcAft>
              <a:buFont typeface="Calibri" panose="020B0604020202020204" pitchFamily="34" charset="0"/>
              <a:buChar char="-"/>
            </a:pPr>
            <a:r>
              <a:rPr lang="en-US" sz="2200" dirty="0">
                <a:ea typeface="Lato"/>
                <a:cs typeface="Lato"/>
              </a:rPr>
              <a:t>Childcare centers</a:t>
            </a:r>
          </a:p>
          <a:p>
            <a:pPr marL="342900" indent="0">
              <a:spcBef>
                <a:spcPts val="500"/>
              </a:spcBef>
              <a:spcAft>
                <a:spcPts val="500"/>
              </a:spcAft>
              <a:buFont typeface="Calibri" panose="020B0604020202020204" pitchFamily="34" charset="0"/>
              <a:buChar char="-"/>
            </a:pPr>
            <a:r>
              <a:rPr lang="en-US" sz="2200" dirty="0">
                <a:ea typeface="Lato"/>
                <a:cs typeface="Lato"/>
              </a:rPr>
              <a:t>Churches</a:t>
            </a:r>
          </a:p>
          <a:p>
            <a:pPr marL="342900" indent="0">
              <a:spcBef>
                <a:spcPts val="500"/>
              </a:spcBef>
              <a:spcAft>
                <a:spcPts val="500"/>
              </a:spcAft>
              <a:buFont typeface="Calibri" panose="020B0604020202020204" pitchFamily="34" charset="0"/>
              <a:buChar char="-"/>
            </a:pPr>
            <a:r>
              <a:rPr lang="en-US" sz="2200" dirty="0">
                <a:ea typeface="Lato"/>
                <a:cs typeface="Lato"/>
              </a:rPr>
              <a:t>Libraries</a:t>
            </a:r>
          </a:p>
          <a:p>
            <a:pPr marL="342900" indent="0">
              <a:spcBef>
                <a:spcPts val="500"/>
              </a:spcBef>
              <a:spcAft>
                <a:spcPts val="500"/>
              </a:spcAft>
              <a:buFont typeface="Calibri" panose="020B0604020202020204" pitchFamily="34" charset="0"/>
              <a:buChar char="-"/>
            </a:pPr>
            <a:r>
              <a:rPr lang="en-US" sz="2200" dirty="0">
                <a:ea typeface="Lato"/>
                <a:cs typeface="Lato"/>
              </a:rPr>
              <a:t>Housing assistance organizations</a:t>
            </a:r>
          </a:p>
          <a:p>
            <a:pPr marL="342900" indent="0">
              <a:spcBef>
                <a:spcPts val="500"/>
              </a:spcBef>
              <a:spcAft>
                <a:spcPts val="500"/>
              </a:spcAft>
              <a:buFont typeface="Calibri" panose="020B0604020202020204" pitchFamily="34" charset="0"/>
              <a:buChar char="-"/>
            </a:pPr>
            <a:r>
              <a:rPr lang="en-US" sz="2200" dirty="0">
                <a:ea typeface="Lato"/>
                <a:cs typeface="Lato"/>
              </a:rPr>
              <a:t>And more!*</a:t>
            </a:r>
          </a:p>
          <a:p>
            <a:pPr marL="342900" indent="0">
              <a:spcBef>
                <a:spcPts val="500"/>
              </a:spcBef>
              <a:spcAft>
                <a:spcPts val="500"/>
              </a:spcAft>
              <a:buNone/>
            </a:pPr>
            <a:r>
              <a:rPr lang="en-US" sz="2000" dirty="0">
                <a:ea typeface="Lato"/>
                <a:cs typeface="Lato"/>
              </a:rPr>
              <a:t>*Local Health Departments are often categorized as community-based organizations in that they provide the most basic public health services in a community. </a:t>
            </a:r>
          </a:p>
          <a:p>
            <a:pPr marL="0" indent="0">
              <a:spcBef>
                <a:spcPts val="500"/>
              </a:spcBef>
              <a:spcAft>
                <a:spcPts val="500"/>
              </a:spcAft>
              <a:buNone/>
            </a:pPr>
            <a:endParaRPr lang="en-US" sz="2800" dirty="0">
              <a:ea typeface="Lato"/>
              <a:cs typeface="Lato"/>
            </a:endParaRPr>
          </a:p>
          <a:p>
            <a:pPr marL="342900" indent="0">
              <a:spcBef>
                <a:spcPts val="500"/>
              </a:spcBef>
              <a:spcAft>
                <a:spcPts val="500"/>
              </a:spcAft>
              <a:buFont typeface="Calibri" panose="020B0604020202020204" pitchFamily="34" charset="0"/>
              <a:buChar char="-"/>
            </a:pPr>
            <a:endParaRPr lang="en-US" sz="2800" dirty="0">
              <a:ea typeface="Lato"/>
              <a:cs typeface="Lato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F63134-BDEB-3AFD-3CFB-A9620E3304C1}"/>
              </a:ext>
            </a:extLst>
          </p:cNvPr>
          <p:cNvSpPr txBox="1">
            <a:spLocks/>
          </p:cNvSpPr>
          <p:nvPr/>
        </p:nvSpPr>
        <p:spPr>
          <a:xfrm>
            <a:off x="0" y="6354774"/>
            <a:ext cx="10972800" cy="6413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>
                <a:latin typeface="Calibri"/>
                <a:ea typeface="Lato"/>
                <a:cs typeface="Lato"/>
              </a:rPr>
              <a:t>Institute of State and Regional Affairs, Penn State Harrisburg. (2022). Pennsylvania’s Stigma Reduction Opioid Behavior Change Campaign, Data Briefs: Community Based Organizations. Sponsored by the Pennsylvania Department of Drug and Alcohol Programs.</a:t>
            </a:r>
            <a:endParaRPr lang="en-US" sz="1200" dirty="0">
              <a:latin typeface="Calibri"/>
            </a:endParaRPr>
          </a:p>
        </p:txBody>
      </p:sp>
      <p:pic>
        <p:nvPicPr>
          <p:cNvPr id="4" name="Picture 3" descr="A box of food and a baby bottle&#10;&#10;AI-generated content may be incorrect.">
            <a:extLst>
              <a:ext uri="{FF2B5EF4-FFF2-40B4-BE49-F238E27FC236}">
                <a16:creationId xmlns:a16="http://schemas.microsoft.com/office/drawing/2014/main" id="{BBE634D7-ECA0-6C80-BD05-512D5CAE182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605" y="1736360"/>
            <a:ext cx="4312232" cy="3152678"/>
          </a:xfrm>
          <a:prstGeom prst="rect">
            <a:avLst/>
          </a:prstGeom>
          <a:ln>
            <a:noFill/>
          </a:ln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F1271C2-209E-C467-9E99-B566DA346C48}"/>
              </a:ext>
            </a:extLst>
          </p:cNvPr>
          <p:cNvSpPr txBox="1">
            <a:spLocks/>
          </p:cNvSpPr>
          <p:nvPr/>
        </p:nvSpPr>
        <p:spPr>
          <a:xfrm>
            <a:off x="459547" y="5219728"/>
            <a:ext cx="10972800" cy="6413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200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358581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1F4169-737F-79B2-C43D-536C4E96A1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hands touching each other&#10;&#10;AI-generated content may be incorrect.">
            <a:extLst>
              <a:ext uri="{FF2B5EF4-FFF2-40B4-BE49-F238E27FC236}">
                <a16:creationId xmlns:a16="http://schemas.microsoft.com/office/drawing/2014/main" id="{D0B9E3B6-DA48-D9A2-5A24-86394BEE07A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6248" y="2411138"/>
            <a:ext cx="3531468" cy="3704849"/>
          </a:xfrm>
          <a:prstGeom prst="rect">
            <a:avLst/>
          </a:prstGeom>
        </p:spPr>
      </p:pic>
      <p:sp>
        <p:nvSpPr>
          <p:cNvPr id="16386" name="Title 1">
            <a:extLst>
              <a:ext uri="{FF2B5EF4-FFF2-40B4-BE49-F238E27FC236}">
                <a16:creationId xmlns:a16="http://schemas.microsoft.com/office/drawing/2014/main" id="{C3F38E06-572C-02F4-C491-E97B0B8F0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607" y="-5299"/>
            <a:ext cx="11885659" cy="1720273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US" altLang="en-US" sz="4400" dirty="0">
                <a:ea typeface="Lato Medium"/>
                <a:cs typeface="Lato Medium"/>
              </a:rPr>
              <a:t>Your Role in the Community</a:t>
            </a:r>
            <a:endParaRPr lang="en-US" altLang="en-US" sz="440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FC91A7D-4690-4E1A-97B4-B3C28024E8BC}"/>
              </a:ext>
            </a:extLst>
          </p:cNvPr>
          <p:cNvSpPr txBox="1">
            <a:spLocks/>
          </p:cNvSpPr>
          <p:nvPr/>
        </p:nvSpPr>
        <p:spPr>
          <a:xfrm>
            <a:off x="309418" y="1517747"/>
            <a:ext cx="10972800" cy="26714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000" dirty="0">
                <a:ea typeface="Lato"/>
                <a:cs typeface="Lato"/>
              </a:rPr>
              <a:t>All hospitals, regardless of type (non-teaching, for-profit, religious) play an integral role in</a:t>
            </a:r>
            <a:r>
              <a:rPr lang="en-US" sz="3000" dirty="0">
                <a:latin typeface="Calibri"/>
                <a:ea typeface="Lato"/>
                <a:cs typeface="Lato"/>
              </a:rPr>
              <a:t> delivering care to all people in their community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42532A2-920E-B906-1C34-5496F36B2EF1}"/>
              </a:ext>
            </a:extLst>
          </p:cNvPr>
          <p:cNvSpPr txBox="1">
            <a:spLocks/>
          </p:cNvSpPr>
          <p:nvPr/>
        </p:nvSpPr>
        <p:spPr>
          <a:xfrm>
            <a:off x="309418" y="3288051"/>
            <a:ext cx="10972800" cy="5336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000" dirty="0">
                <a:ea typeface="Lato"/>
                <a:cs typeface="Lato"/>
              </a:rPr>
              <a:t>… but the </a:t>
            </a:r>
            <a:r>
              <a:rPr lang="en-US" sz="3000" dirty="0">
                <a:latin typeface="Calibri"/>
                <a:ea typeface="Lato"/>
                <a:cs typeface="Lato"/>
              </a:rPr>
              <a:t>care should extend beyond the hospital wal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7BBA12-9636-2398-04A3-90E1DDA155F8}"/>
              </a:ext>
            </a:extLst>
          </p:cNvPr>
          <p:cNvSpPr txBox="1">
            <a:spLocks/>
          </p:cNvSpPr>
          <p:nvPr/>
        </p:nvSpPr>
        <p:spPr>
          <a:xfrm>
            <a:off x="309417" y="4473383"/>
            <a:ext cx="7698114" cy="1334127"/>
          </a:xfrm>
          <a:prstGeom prst="rect">
            <a:avLst/>
          </a:prstGeom>
          <a:ln w="28575">
            <a:solidFill>
              <a:schemeClr val="accent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000" b="1" dirty="0">
                <a:ea typeface="Lato"/>
                <a:cs typeface="Lato"/>
              </a:rPr>
              <a:t>Is</a:t>
            </a:r>
            <a:r>
              <a:rPr lang="en-US" sz="3000" b="1" dirty="0">
                <a:latin typeface="Calibri"/>
                <a:ea typeface="Lato"/>
                <a:cs typeface="Lato"/>
              </a:rPr>
              <a:t> your hospital involved in the community it serves, or simply operating within that space?</a:t>
            </a:r>
          </a:p>
        </p:txBody>
      </p:sp>
    </p:spTree>
    <p:extLst>
      <p:ext uri="{BB962C8B-B14F-4D97-AF65-F5344CB8AC3E}">
        <p14:creationId xmlns:p14="http://schemas.microsoft.com/office/powerpoint/2010/main" val="36082830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9EA033-160A-0720-5DC9-A22A37DC8A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79287688-9D75-A98C-F1E5-D35A80CDB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607" y="-5299"/>
            <a:ext cx="11885659" cy="1720273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US" altLang="en-US" sz="4400" dirty="0">
                <a:ea typeface="Lato Medium"/>
                <a:cs typeface="Lato Medium"/>
              </a:rPr>
              <a:t>The Importance of Hospital-Community Partnerships</a:t>
            </a:r>
            <a:endParaRPr lang="en-US" altLang="en-US" sz="4400" dirty="0"/>
          </a:p>
        </p:txBody>
      </p:sp>
      <p:pic>
        <p:nvPicPr>
          <p:cNvPr id="5" name="Picture 4" descr="A white and blue text on a white background&#10;&#10;AI-generated content may be incorrect.">
            <a:extLst>
              <a:ext uri="{FF2B5EF4-FFF2-40B4-BE49-F238E27FC236}">
                <a16:creationId xmlns:a16="http://schemas.microsoft.com/office/drawing/2014/main" id="{AC18E13E-3E8E-E91A-5943-E928EA507BB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0370" y="854837"/>
            <a:ext cx="3201876" cy="367683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1D685C4-0788-53B9-BCAA-E90CF4683671}"/>
              </a:ext>
            </a:extLst>
          </p:cNvPr>
          <p:cNvSpPr txBox="1"/>
          <p:nvPr/>
        </p:nvSpPr>
        <p:spPr>
          <a:xfrm>
            <a:off x="9499554" y="5143027"/>
            <a:ext cx="19435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American Hospital Association, </a:t>
            </a:r>
            <a:r>
              <a:rPr lang="en-US" sz="1200" i="1" dirty="0"/>
              <a:t>“A Playbook for Fostering Hospital-Community Partnerships to Build a Culture of Health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67454C4-5147-8F3E-E4AA-3256F09F5EE2}"/>
              </a:ext>
            </a:extLst>
          </p:cNvPr>
          <p:cNvSpPr txBox="1"/>
          <p:nvPr/>
        </p:nvSpPr>
        <p:spPr>
          <a:xfrm>
            <a:off x="482297" y="1854926"/>
            <a:ext cx="655858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dirty="0"/>
              <a:t>Hospital community partnerships address the health of</a:t>
            </a:r>
            <a:r>
              <a:rPr lang="en-US" sz="2500" dirty="0">
                <a:solidFill>
                  <a:schemeClr val="accent1"/>
                </a:solidFill>
              </a:rPr>
              <a:t> </a:t>
            </a:r>
            <a:r>
              <a:rPr lang="en-US" sz="2500" b="1" u="sng" dirty="0">
                <a:solidFill>
                  <a:schemeClr val="accent1"/>
                </a:solidFill>
              </a:rPr>
              <a:t>the individual </a:t>
            </a:r>
            <a:r>
              <a:rPr lang="en-US" sz="2500" dirty="0"/>
              <a:t>and </a:t>
            </a:r>
            <a:r>
              <a:rPr lang="en-US" sz="2500" b="1" u="sng" dirty="0">
                <a:solidFill>
                  <a:schemeClr val="accent1"/>
                </a:solidFill>
              </a:rPr>
              <a:t>the community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894D3C-4654-1544-C5CF-7580130E9CC5}"/>
              </a:ext>
            </a:extLst>
          </p:cNvPr>
          <p:cNvSpPr txBox="1"/>
          <p:nvPr/>
        </p:nvSpPr>
        <p:spPr>
          <a:xfrm>
            <a:off x="601292" y="5045105"/>
            <a:ext cx="787788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dirty="0"/>
              <a:t>As a healthcare provider</a:t>
            </a:r>
            <a:r>
              <a:rPr lang="en-US" sz="2500" b="1" u="sng" dirty="0">
                <a:solidFill>
                  <a:schemeClr val="accent1"/>
                </a:solidFill>
              </a:rPr>
              <a:t>, you have an opportunity </a:t>
            </a:r>
            <a:r>
              <a:rPr lang="en-US" sz="2500" dirty="0"/>
              <a:t>to provide linkage to additional resources and supports for the family you are providing care for. </a:t>
            </a:r>
          </a:p>
          <a:p>
            <a:pPr marL="285750" indent="-285750">
              <a:buFontTx/>
              <a:buChar char="-"/>
            </a:pPr>
            <a:endParaRPr lang="en-US" sz="25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66ED1A-0624-7214-41E8-8F038EFC9BED}"/>
              </a:ext>
            </a:extLst>
          </p:cNvPr>
          <p:cNvSpPr txBox="1"/>
          <p:nvPr/>
        </p:nvSpPr>
        <p:spPr>
          <a:xfrm>
            <a:off x="698931" y="2896017"/>
            <a:ext cx="7544873" cy="1938992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i="1" dirty="0"/>
              <a:t>Consider the following:</a:t>
            </a:r>
          </a:p>
          <a:p>
            <a:pPr marL="285750" indent="-285750">
              <a:buFontTx/>
              <a:buChar char="-"/>
            </a:pPr>
            <a:r>
              <a:rPr lang="en-US" sz="2000" dirty="0"/>
              <a:t>How can a provider expect to follow-up with a family during well-child visits if that family doesn’t have access of transportation services?</a:t>
            </a:r>
          </a:p>
          <a:p>
            <a:pPr marL="285750" indent="-285750">
              <a:buFontTx/>
              <a:buChar char="-"/>
            </a:pPr>
            <a:r>
              <a:rPr lang="en-US" sz="2000" dirty="0"/>
              <a:t>How does one encourage safe sleep practices when a patient is experiencing homelessness or unstable housing?</a:t>
            </a:r>
          </a:p>
        </p:txBody>
      </p:sp>
    </p:spTree>
    <p:extLst>
      <p:ext uri="{BB962C8B-B14F-4D97-AF65-F5344CB8AC3E}">
        <p14:creationId xmlns:p14="http://schemas.microsoft.com/office/powerpoint/2010/main" val="1321246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424F0-A3EC-200C-FF5A-476B2FCC2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403" y="1410586"/>
            <a:ext cx="10393193" cy="2014679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Attendance Pol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AA2794-0DBF-AA34-2B9E-B8E68D10F90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D005EA-AD31-476F-2A18-07F06873874D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3D324B-6FD4-E2A6-3059-00A40F170403}"/>
              </a:ext>
            </a:extLst>
          </p:cNvPr>
          <p:cNvSpPr txBox="1"/>
          <p:nvPr/>
        </p:nvSpPr>
        <p:spPr>
          <a:xfrm>
            <a:off x="901260" y="3646752"/>
            <a:ext cx="10801926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i="1" dirty="0">
                <a:ea typeface="Calibri"/>
                <a:cs typeface="Calibri"/>
              </a:rPr>
              <a:t>Please fill out the poll so that we can track hospital team attendance for ESSI Webinars. If unable to complete poll, please email kmoreno@northshore.org</a:t>
            </a:r>
            <a:endParaRPr lang="en-US" sz="2400" i="1" dirty="0"/>
          </a:p>
        </p:txBody>
      </p:sp>
    </p:spTree>
    <p:extLst>
      <p:ext uri="{BB962C8B-B14F-4D97-AF65-F5344CB8AC3E}">
        <p14:creationId xmlns:p14="http://schemas.microsoft.com/office/powerpoint/2010/main" val="3176545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A300E8-6663-BB0B-11F8-45D2BADAEB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32DFF1AE-D63A-BFDC-F989-6DE5ACF62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607" y="-5299"/>
            <a:ext cx="11885659" cy="1720273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US" altLang="en-US" sz="4400" dirty="0">
                <a:ea typeface="Lato Medium"/>
                <a:cs typeface="Lato Medium"/>
              </a:rPr>
              <a:t>Benefits of Building Relationships with Community-Based Organizations</a:t>
            </a:r>
            <a:endParaRPr lang="en-US" altLang="en-US" sz="4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74998DD-1D6D-D40D-3AC1-5D772D0840BB}"/>
              </a:ext>
            </a:extLst>
          </p:cNvPr>
          <p:cNvSpPr/>
          <p:nvPr/>
        </p:nvSpPr>
        <p:spPr>
          <a:xfrm>
            <a:off x="464323" y="2067799"/>
            <a:ext cx="3083083" cy="19138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dirty="0">
                <a:ea typeface="Calibri"/>
                <a:cs typeface="Calibri"/>
              </a:rPr>
              <a:t>Understanding the needs and priorities of the community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430F616-C0E3-6C7F-8CAB-FA1AABF9CAAB}"/>
              </a:ext>
            </a:extLst>
          </p:cNvPr>
          <p:cNvSpPr/>
          <p:nvPr/>
        </p:nvSpPr>
        <p:spPr>
          <a:xfrm>
            <a:off x="8422989" y="2067799"/>
            <a:ext cx="3083083" cy="19138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200" dirty="0">
                <a:ea typeface="Calibri"/>
                <a:cs typeface="Calibri"/>
              </a:rPr>
              <a:t>Sharing information, data, and resources to help align effor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CF00B2D-A2CF-78F4-86E7-19698D8C81B2}"/>
              </a:ext>
            </a:extLst>
          </p:cNvPr>
          <p:cNvSpPr/>
          <p:nvPr/>
        </p:nvSpPr>
        <p:spPr>
          <a:xfrm>
            <a:off x="4246537" y="2067799"/>
            <a:ext cx="3387960" cy="191386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200" dirty="0">
                <a:ea typeface="Calibri"/>
                <a:cs typeface="Calibri"/>
              </a:rPr>
              <a:t>Building capacity for both parties to serve the community in the best way possib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0400775-6B9B-60D0-6334-5962E347F2D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45194" y="4318050"/>
            <a:ext cx="6096009" cy="207699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25103C2-1DD7-51B5-3E7D-179EE1D0C2A2}"/>
              </a:ext>
            </a:extLst>
          </p:cNvPr>
          <p:cNvSpPr txBox="1"/>
          <p:nvPr/>
        </p:nvSpPr>
        <p:spPr>
          <a:xfrm>
            <a:off x="465218" y="4648074"/>
            <a:ext cx="2119745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i="1" dirty="0">
                <a:ea typeface="Calibri"/>
                <a:cs typeface="Calibri"/>
              </a:rPr>
              <a:t>You are part of the community!</a:t>
            </a:r>
            <a:endParaRPr lang="en-US" sz="2000" i="1" dirty="0"/>
          </a:p>
        </p:txBody>
      </p:sp>
    </p:spTree>
    <p:extLst>
      <p:ext uri="{BB962C8B-B14F-4D97-AF65-F5344CB8AC3E}">
        <p14:creationId xmlns:p14="http://schemas.microsoft.com/office/powerpoint/2010/main" val="39480918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EE73A0-F430-1507-E64F-9D13B315E7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EE47774E-8D52-C119-D003-B76696512A12}"/>
              </a:ext>
            </a:extLst>
          </p:cNvPr>
          <p:cNvGrpSpPr/>
          <p:nvPr/>
        </p:nvGrpSpPr>
        <p:grpSpPr>
          <a:xfrm>
            <a:off x="570972" y="2206786"/>
            <a:ext cx="4518083" cy="3431333"/>
            <a:chOff x="836786" y="1852367"/>
            <a:chExt cx="3206735" cy="2119985"/>
          </a:xfrm>
        </p:grpSpPr>
        <p:sp>
          <p:nvSpPr>
            <p:cNvPr id="8" name="Freeform 17">
              <a:extLst>
                <a:ext uri="{FF2B5EF4-FFF2-40B4-BE49-F238E27FC236}">
                  <a16:creationId xmlns:a16="http://schemas.microsoft.com/office/drawing/2014/main" id="{89650133-6981-50A4-BE64-4835102316E1}"/>
                </a:ext>
              </a:extLst>
            </p:cNvPr>
            <p:cNvSpPr/>
            <p:nvPr/>
          </p:nvSpPr>
          <p:spPr>
            <a:xfrm>
              <a:off x="886026" y="2651913"/>
              <a:ext cx="3150228" cy="608867"/>
            </a:xfrm>
            <a:custGeom>
              <a:avLst/>
              <a:gdLst/>
              <a:ahLst/>
              <a:cxnLst/>
              <a:rect l="l" t="t" r="r" b="b"/>
              <a:pathLst>
                <a:path w="4592821" h="780779">
                  <a:moveTo>
                    <a:pt x="0" y="0"/>
                  </a:moveTo>
                  <a:lnTo>
                    <a:pt x="4592820" y="0"/>
                  </a:lnTo>
                  <a:lnTo>
                    <a:pt x="4592820" y="780780"/>
                  </a:lnTo>
                  <a:lnTo>
                    <a:pt x="0" y="78078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TextBox 18">
              <a:extLst>
                <a:ext uri="{FF2B5EF4-FFF2-40B4-BE49-F238E27FC236}">
                  <a16:creationId xmlns:a16="http://schemas.microsoft.com/office/drawing/2014/main" id="{8D2C5759-D647-4405-039D-E32684E0B39F}"/>
                </a:ext>
              </a:extLst>
            </p:cNvPr>
            <p:cNvSpPr txBox="1"/>
            <p:nvPr/>
          </p:nvSpPr>
          <p:spPr>
            <a:xfrm>
              <a:off x="1387344" y="2855940"/>
              <a:ext cx="2028316" cy="30021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333"/>
                </a:lnSpc>
              </a:pPr>
              <a:r>
                <a:rPr lang="en-US" sz="2333">
                  <a:solidFill>
                    <a:srgbClr val="FFFFFF"/>
                  </a:solidFill>
                  <a:latin typeface="Kollektif Bold"/>
                </a:rPr>
                <a:t>READINESS</a:t>
              </a:r>
            </a:p>
          </p:txBody>
        </p:sp>
        <p:sp>
          <p:nvSpPr>
            <p:cNvPr id="12" name="Freeform 19">
              <a:extLst>
                <a:ext uri="{FF2B5EF4-FFF2-40B4-BE49-F238E27FC236}">
                  <a16:creationId xmlns:a16="http://schemas.microsoft.com/office/drawing/2014/main" id="{804AA855-61A7-5D1E-2D07-14CEEEF12524}"/>
                </a:ext>
              </a:extLst>
            </p:cNvPr>
            <p:cNvSpPr/>
            <p:nvPr/>
          </p:nvSpPr>
          <p:spPr>
            <a:xfrm>
              <a:off x="886027" y="3418703"/>
              <a:ext cx="3150228" cy="553649"/>
            </a:xfrm>
            <a:custGeom>
              <a:avLst/>
              <a:gdLst/>
              <a:ahLst/>
              <a:cxnLst/>
              <a:rect l="l" t="t" r="r" b="b"/>
              <a:pathLst>
                <a:path w="4592821" h="780779">
                  <a:moveTo>
                    <a:pt x="0" y="0"/>
                  </a:moveTo>
                  <a:lnTo>
                    <a:pt x="4592820" y="0"/>
                  </a:lnTo>
                  <a:lnTo>
                    <a:pt x="4592820" y="780779"/>
                  </a:lnTo>
                  <a:lnTo>
                    <a:pt x="0" y="78077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TextBox 20">
              <a:extLst>
                <a:ext uri="{FF2B5EF4-FFF2-40B4-BE49-F238E27FC236}">
                  <a16:creationId xmlns:a16="http://schemas.microsoft.com/office/drawing/2014/main" id="{29B00B11-A76D-18C3-3637-C2BBDD5632A9}"/>
                </a:ext>
              </a:extLst>
            </p:cNvPr>
            <p:cNvSpPr txBox="1"/>
            <p:nvPr/>
          </p:nvSpPr>
          <p:spPr>
            <a:xfrm>
              <a:off x="836786" y="3595761"/>
              <a:ext cx="3206735" cy="30021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333"/>
                </a:lnSpc>
              </a:pPr>
              <a:r>
                <a:rPr lang="en-US" sz="2333">
                  <a:solidFill>
                    <a:srgbClr val="FFFFFF"/>
                  </a:solidFill>
                  <a:latin typeface="Kollektif Bold"/>
                </a:rPr>
                <a:t>TRANSFER OF CARE</a:t>
              </a:r>
            </a:p>
          </p:txBody>
        </p:sp>
        <p:sp>
          <p:nvSpPr>
            <p:cNvPr id="16" name="Freeform 21">
              <a:extLst>
                <a:ext uri="{FF2B5EF4-FFF2-40B4-BE49-F238E27FC236}">
                  <a16:creationId xmlns:a16="http://schemas.microsoft.com/office/drawing/2014/main" id="{5B8EE027-F6C3-47EA-9EFA-443FD62AD92A}"/>
                </a:ext>
              </a:extLst>
            </p:cNvPr>
            <p:cNvSpPr/>
            <p:nvPr/>
          </p:nvSpPr>
          <p:spPr>
            <a:xfrm>
              <a:off x="888227" y="1852367"/>
              <a:ext cx="3148028" cy="608493"/>
            </a:xfrm>
            <a:custGeom>
              <a:avLst/>
              <a:gdLst/>
              <a:ahLst/>
              <a:cxnLst/>
              <a:rect l="l" t="t" r="r" b="b"/>
              <a:pathLst>
                <a:path w="4589522" h="780219">
                  <a:moveTo>
                    <a:pt x="0" y="0"/>
                  </a:moveTo>
                  <a:lnTo>
                    <a:pt x="4589521" y="0"/>
                  </a:lnTo>
                  <a:lnTo>
                    <a:pt x="4589521" y="780218"/>
                  </a:lnTo>
                  <a:lnTo>
                    <a:pt x="0" y="78021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TextBox 24">
              <a:extLst>
                <a:ext uri="{FF2B5EF4-FFF2-40B4-BE49-F238E27FC236}">
                  <a16:creationId xmlns:a16="http://schemas.microsoft.com/office/drawing/2014/main" id="{CA9A1237-7F1B-84C6-949F-D5E4912898AA}"/>
                </a:ext>
              </a:extLst>
            </p:cNvPr>
            <p:cNvSpPr txBox="1"/>
            <p:nvPr/>
          </p:nvSpPr>
          <p:spPr>
            <a:xfrm>
              <a:off x="1488052" y="2041462"/>
              <a:ext cx="1951014" cy="311253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333"/>
                </a:lnSpc>
              </a:pPr>
              <a:r>
                <a:rPr lang="en-US" sz="2333">
                  <a:solidFill>
                    <a:srgbClr val="FFFFFF"/>
                  </a:solidFill>
                  <a:latin typeface="Kollektif Bold"/>
                </a:rPr>
                <a:t>AWARENESS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2078ECCE-F088-213D-DFB2-F0D7AEDC4F78}"/>
              </a:ext>
            </a:extLst>
          </p:cNvPr>
          <p:cNvSpPr txBox="1"/>
          <p:nvPr/>
        </p:nvSpPr>
        <p:spPr>
          <a:xfrm>
            <a:off x="292394" y="0"/>
            <a:ext cx="11896061" cy="1446550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400" b="1" dirty="0">
                <a:solidFill>
                  <a:schemeClr val="accent1"/>
                </a:solidFill>
                <a:ea typeface="Calibri"/>
                <a:cs typeface="Calibri"/>
              </a:rPr>
              <a:t>Building Community Relationships and the ESSI Bund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328025C-75D1-FE40-1DCD-9ABC315F1F97}"/>
              </a:ext>
            </a:extLst>
          </p:cNvPr>
          <p:cNvSpPr txBox="1"/>
          <p:nvPr/>
        </p:nvSpPr>
        <p:spPr>
          <a:xfrm>
            <a:off x="8526298" y="4690924"/>
            <a:ext cx="2886992" cy="923330"/>
          </a:xfrm>
          <a:prstGeom prst="rect">
            <a:avLst/>
          </a:prstGeom>
          <a:noFill/>
          <a:ln w="57150">
            <a:solidFill>
              <a:srgbClr val="49CFAF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ea typeface="Calibri"/>
                <a:cs typeface="Calibri"/>
              </a:rPr>
              <a:t>Seamless communication and transition to community providers</a:t>
            </a:r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6A13B4A-DEA5-6BCA-2F54-67FF092423C2}"/>
              </a:ext>
            </a:extLst>
          </p:cNvPr>
          <p:cNvSpPr txBox="1"/>
          <p:nvPr/>
        </p:nvSpPr>
        <p:spPr>
          <a:xfrm>
            <a:off x="5466906" y="3322672"/>
            <a:ext cx="2264735" cy="1200329"/>
          </a:xfrm>
          <a:prstGeom prst="rect">
            <a:avLst/>
          </a:prstGeom>
          <a:noFill/>
          <a:ln w="57150">
            <a:solidFill>
              <a:srgbClr val="FFCB77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ea typeface="Calibri"/>
                <a:cs typeface="Calibri"/>
              </a:rPr>
              <a:t>Connecting with organizations before discharge to provide resources for famil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85116C3-E45E-0FE8-1830-E9115D2CE42B}"/>
              </a:ext>
            </a:extLst>
          </p:cNvPr>
          <p:cNvSpPr txBox="1"/>
          <p:nvPr/>
        </p:nvSpPr>
        <p:spPr>
          <a:xfrm>
            <a:off x="8598194" y="1883062"/>
            <a:ext cx="2743200" cy="923330"/>
          </a:xfrm>
          <a:prstGeom prst="rect">
            <a:avLst/>
          </a:prstGeom>
          <a:noFill/>
          <a:ln w="57150">
            <a:solidFill>
              <a:srgbClr val="FE6D73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ea typeface="Calibri"/>
                <a:cs typeface="Calibri"/>
              </a:rPr>
              <a:t>Talking to organizations about ESSI to improve knowledge of initiative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84C7985-384F-A70A-C131-0B2B4AA80651}"/>
              </a:ext>
            </a:extLst>
          </p:cNvPr>
          <p:cNvSpPr txBox="1"/>
          <p:nvPr/>
        </p:nvSpPr>
        <p:spPr>
          <a:xfrm>
            <a:off x="5466906" y="4854613"/>
            <a:ext cx="2743200" cy="646331"/>
          </a:xfrm>
          <a:prstGeom prst="rect">
            <a:avLst/>
          </a:prstGeom>
          <a:noFill/>
          <a:ln w="57150">
            <a:solidFill>
              <a:srgbClr val="49CFAF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ea typeface="Calibri"/>
                <a:cs typeface="Calibri"/>
              </a:rPr>
              <a:t>Understanding capacity and availability of provider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EA41874-6C90-5615-49E4-01D6CB3C0981}"/>
              </a:ext>
            </a:extLst>
          </p:cNvPr>
          <p:cNvSpPr txBox="1"/>
          <p:nvPr/>
        </p:nvSpPr>
        <p:spPr>
          <a:xfrm>
            <a:off x="8018945" y="3424175"/>
            <a:ext cx="3365457" cy="923330"/>
          </a:xfrm>
          <a:prstGeom prst="rect">
            <a:avLst/>
          </a:prstGeom>
          <a:noFill/>
          <a:ln w="57150">
            <a:solidFill>
              <a:srgbClr val="FFCB77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ea typeface="Calibri"/>
                <a:cs typeface="Calibri"/>
              </a:rPr>
              <a:t>Understanding what service gaps are in the area you serve and bridging that ga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F64E7F0-517E-C8C9-8722-D908EA06393B}"/>
              </a:ext>
            </a:extLst>
          </p:cNvPr>
          <p:cNvSpPr txBox="1"/>
          <p:nvPr/>
        </p:nvSpPr>
        <p:spPr>
          <a:xfrm>
            <a:off x="5466906" y="1767418"/>
            <a:ext cx="2743200" cy="1200329"/>
          </a:xfrm>
          <a:prstGeom prst="rect">
            <a:avLst/>
          </a:prstGeom>
          <a:noFill/>
          <a:ln w="57150">
            <a:solidFill>
              <a:srgbClr val="FE6D73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ea typeface="Calibri"/>
                <a:cs typeface="Calibri"/>
              </a:rPr>
              <a:t>Coordinating with organizations to align safe sleep messaging and modeling</a:t>
            </a:r>
          </a:p>
        </p:txBody>
      </p:sp>
    </p:spTree>
    <p:extLst>
      <p:ext uri="{BB962C8B-B14F-4D97-AF65-F5344CB8AC3E}">
        <p14:creationId xmlns:p14="http://schemas.microsoft.com/office/powerpoint/2010/main" val="18946964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CC7C92-25D0-2A59-98DC-7DB81B964C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4772D009-7A5A-0EFB-9805-EF95EBB00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607" y="2398"/>
            <a:ext cx="11885659" cy="1720273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US" altLang="en-US" sz="4800" dirty="0">
                <a:ea typeface="Lato Medium"/>
                <a:cs typeface="Lato Medium"/>
              </a:rPr>
              <a:t>Examples of CBO’s:</a:t>
            </a:r>
            <a:endParaRPr lang="en-US" altLang="en-US" sz="480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A3F65AE-F3C0-8420-E2A4-C25543FA9296}"/>
              </a:ext>
            </a:extLst>
          </p:cNvPr>
          <p:cNvSpPr txBox="1">
            <a:spLocks/>
          </p:cNvSpPr>
          <p:nvPr/>
        </p:nvSpPr>
        <p:spPr>
          <a:xfrm>
            <a:off x="309418" y="1594717"/>
            <a:ext cx="10972800" cy="468230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Calibri" panose="020B0604020202020204" pitchFamily="34" charset="0"/>
              <a:buChar char="-"/>
            </a:pPr>
            <a:r>
              <a:rPr lang="en-US" dirty="0">
                <a:latin typeface="Calibri"/>
                <a:ea typeface="Lato"/>
                <a:cs typeface="Lato"/>
              </a:rPr>
              <a:t>Federally Qualified Health Centers (FQHCs)</a:t>
            </a:r>
          </a:p>
          <a:p>
            <a:pPr marL="342900" indent="-342900">
              <a:buFont typeface="Calibri" panose="020B0604020202020204" pitchFamily="34" charset="0"/>
              <a:buChar char="-"/>
            </a:pPr>
            <a:r>
              <a:rPr lang="en-US" dirty="0">
                <a:latin typeface="Calibri"/>
                <a:ea typeface="Lato"/>
                <a:cs typeface="Lato"/>
              </a:rPr>
              <a:t>Daycare Centers</a:t>
            </a:r>
          </a:p>
          <a:p>
            <a:pPr marL="342900" indent="-342900">
              <a:buFont typeface="Calibri" panose="020B0604020202020204" pitchFamily="34" charset="0"/>
              <a:buChar char="-"/>
            </a:pPr>
            <a:r>
              <a:rPr lang="en-US" dirty="0">
                <a:latin typeface="Calibri"/>
                <a:ea typeface="Lato"/>
                <a:cs typeface="Lato"/>
              </a:rPr>
              <a:t>Faith-based Organizations</a:t>
            </a:r>
          </a:p>
          <a:p>
            <a:pPr marL="342900" indent="-342900">
              <a:buFont typeface="Calibri" panose="020B0604020202020204" pitchFamily="34" charset="0"/>
              <a:buChar char="-"/>
            </a:pPr>
            <a:r>
              <a:rPr lang="en-US" dirty="0">
                <a:latin typeface="Calibri"/>
                <a:ea typeface="Lato"/>
                <a:cs typeface="Lato"/>
              </a:rPr>
              <a:t>Coordinated Intake Programs </a:t>
            </a:r>
          </a:p>
          <a:p>
            <a:pPr marL="342900" indent="-342900">
              <a:buFont typeface="Calibri" panose="020B0604020202020204" pitchFamily="34" charset="0"/>
              <a:buChar char="-"/>
            </a:pPr>
            <a:r>
              <a:rPr lang="en-US" dirty="0">
                <a:latin typeface="Calibri"/>
                <a:ea typeface="Lato"/>
                <a:cs typeface="Lato"/>
              </a:rPr>
              <a:t>Local Health Departments</a:t>
            </a:r>
          </a:p>
          <a:p>
            <a:pPr marL="342900" indent="-342900">
              <a:buFont typeface="Calibri" panose="020B0604020202020204" pitchFamily="34" charset="0"/>
              <a:buChar char="-"/>
            </a:pPr>
            <a:r>
              <a:rPr lang="en-US" dirty="0">
                <a:latin typeface="Calibri"/>
                <a:ea typeface="Lato"/>
                <a:cs typeface="Lato"/>
              </a:rPr>
              <a:t>WIC </a:t>
            </a:r>
          </a:p>
          <a:p>
            <a:pPr marL="342900" indent="-342900">
              <a:buFont typeface="Calibri" panose="020B0604020202020204" pitchFamily="34" charset="0"/>
              <a:buChar char="-"/>
            </a:pPr>
            <a:r>
              <a:rPr lang="en-US" dirty="0">
                <a:latin typeface="Calibri"/>
                <a:ea typeface="Lato"/>
                <a:cs typeface="Lato"/>
              </a:rPr>
              <a:t>Community Councils</a:t>
            </a:r>
          </a:p>
          <a:p>
            <a:pPr marL="342900" indent="-342900">
              <a:buFont typeface="Calibri" panose="020B0604020202020204" pitchFamily="34" charset="0"/>
              <a:buChar char="-"/>
            </a:pPr>
            <a:endParaRPr lang="en-US" dirty="0">
              <a:latin typeface="Calibri"/>
              <a:ea typeface="Lato"/>
              <a:cs typeface="Lato"/>
            </a:endParaRPr>
          </a:p>
        </p:txBody>
      </p:sp>
      <p:pic>
        <p:nvPicPr>
          <p:cNvPr id="2" name="Picture 1" descr="A box of food and a baby bottle&#10;&#10;AI-generated content may be incorrect.">
            <a:extLst>
              <a:ext uri="{FF2B5EF4-FFF2-40B4-BE49-F238E27FC236}">
                <a16:creationId xmlns:a16="http://schemas.microsoft.com/office/drawing/2014/main" id="{53AE1AB6-4311-28D3-C0B9-12CED541CCD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2807" y="2110605"/>
            <a:ext cx="4312232" cy="3152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9664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398D3C-0984-73EC-66B9-C141BC1100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B129568-FE84-B131-52C0-AF17A0FE88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74" y="1"/>
            <a:ext cx="11782426" cy="1528762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Remember November’s To-Do’s? </a:t>
            </a:r>
          </a:p>
        </p:txBody>
      </p:sp>
      <p:pic>
        <p:nvPicPr>
          <p:cNvPr id="3" name="Picture 2" descr="A screenshot of a computer&#10;&#10;AI-generated content may be incorrect.">
            <a:extLst>
              <a:ext uri="{FF2B5EF4-FFF2-40B4-BE49-F238E27FC236}">
                <a16:creationId xmlns:a16="http://schemas.microsoft.com/office/drawing/2014/main" id="{9C910E7F-92AC-95B2-C174-D5616966ED3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0843" y="3736440"/>
            <a:ext cx="4222401" cy="2543174"/>
          </a:xfrm>
          <a:prstGeom prst="rect">
            <a:avLst/>
          </a:prstGeom>
        </p:spPr>
      </p:pic>
      <p:pic>
        <p:nvPicPr>
          <p:cNvPr id="5" name="Picture 4" descr="A black and white document with black text&#10;&#10;AI-generated content may be incorrect.">
            <a:extLst>
              <a:ext uri="{FF2B5EF4-FFF2-40B4-BE49-F238E27FC236}">
                <a16:creationId xmlns:a16="http://schemas.microsoft.com/office/drawing/2014/main" id="{3A3A0BC1-7525-858E-CCB7-45EE4E864F7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214438"/>
            <a:ext cx="6507852" cy="5044005"/>
          </a:xfrm>
          <a:prstGeom prst="rect">
            <a:avLst/>
          </a:prstGeom>
        </p:spPr>
      </p:pic>
      <p:pic>
        <p:nvPicPr>
          <p:cNvPr id="8" name="Picture 7" descr="A white card with black text&#10;&#10;AI-generated content may be incorrect.">
            <a:extLst>
              <a:ext uri="{FF2B5EF4-FFF2-40B4-BE49-F238E27FC236}">
                <a16:creationId xmlns:a16="http://schemas.microsoft.com/office/drawing/2014/main" id="{766320AA-B3AA-8D01-B2E6-2DEC2C338D6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5931" y="1214438"/>
            <a:ext cx="4419632" cy="2324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04695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ACD883-B71B-F90C-2842-327EBE2B31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33D974A6-AEA5-9FC3-268B-7FE96C9FE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341" y="0"/>
            <a:ext cx="11885659" cy="1720273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US" altLang="en-US" sz="4800" dirty="0">
                <a:ea typeface="Lato Medium"/>
                <a:cs typeface="Lato Medium"/>
              </a:rPr>
              <a:t>To-Do's:</a:t>
            </a:r>
            <a:endParaRPr lang="en-US" altLang="en-US" sz="48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D9FB8DB-6DDB-5282-D9E2-BB8CAEDE4C60}"/>
              </a:ext>
            </a:extLst>
          </p:cNvPr>
          <p:cNvSpPr txBox="1"/>
          <p:nvPr/>
        </p:nvSpPr>
        <p:spPr>
          <a:xfrm>
            <a:off x="544689" y="1164134"/>
            <a:ext cx="10555623" cy="50167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/>
              <a:buChar char="q"/>
            </a:pPr>
            <a:r>
              <a:rPr lang="en-US" sz="2800" dirty="0">
                <a:ea typeface="Calibri"/>
                <a:cs typeface="Calibri"/>
              </a:rPr>
              <a:t> Finish your resource map using the template provided by ILPQC</a:t>
            </a:r>
          </a:p>
          <a:p>
            <a:pPr marL="285750" indent="-285750">
              <a:buFont typeface="Wingdings"/>
              <a:buChar char="q"/>
            </a:pPr>
            <a:r>
              <a:rPr lang="en-US" sz="2800" dirty="0">
                <a:ea typeface="Calibri"/>
                <a:cs typeface="Calibri"/>
              </a:rPr>
              <a:t> Identify at least one resource for each of the categories listed (e.g. food, transportation, housing) </a:t>
            </a:r>
          </a:p>
          <a:p>
            <a:pPr marL="285750" indent="-285750">
              <a:buFont typeface="Wingdings"/>
              <a:buChar char="q"/>
            </a:pPr>
            <a:r>
              <a:rPr lang="en-US" sz="2800" dirty="0">
                <a:ea typeface="Calibri"/>
                <a:cs typeface="Calibri"/>
              </a:rPr>
              <a:t> Ensure your hospital’s resource list is reliable.</a:t>
            </a:r>
          </a:p>
          <a:p>
            <a:pPr marL="742950" lvl="1" indent="-285750">
              <a:buFont typeface="Wingdings"/>
              <a:buChar char="q"/>
            </a:pPr>
            <a:r>
              <a:rPr lang="en-US" sz="2800" dirty="0">
                <a:ea typeface="Calibri"/>
                <a:cs typeface="Calibri"/>
              </a:rPr>
              <a:t> Is the phone number correct?</a:t>
            </a:r>
          </a:p>
          <a:p>
            <a:pPr marL="742950" lvl="1" indent="-285750">
              <a:buFont typeface="Wingdings"/>
              <a:buChar char="q"/>
            </a:pPr>
            <a:r>
              <a:rPr lang="en-US" sz="2800" dirty="0">
                <a:ea typeface="Calibri"/>
                <a:cs typeface="Calibri"/>
              </a:rPr>
              <a:t> Are there limitations / restrictions around accessing resources?</a:t>
            </a:r>
          </a:p>
          <a:p>
            <a:pPr marL="285750" indent="-285750">
              <a:buFont typeface="Wingdings"/>
              <a:buChar char="q"/>
            </a:pPr>
            <a:r>
              <a:rPr lang="en-US" sz="2800" dirty="0">
                <a:ea typeface="Calibri"/>
                <a:cs typeface="Calibri"/>
              </a:rPr>
              <a:t> Bonus*: Introduce yourself, your ESSI team member, and inquire about opportunities to engage with the organization (councils, advisory meetings, events)</a:t>
            </a:r>
          </a:p>
          <a:p>
            <a:endParaRPr lang="en-US" sz="2800" dirty="0">
              <a:ea typeface="Calibri"/>
              <a:cs typeface="Calibri"/>
            </a:endParaRPr>
          </a:p>
          <a:p>
            <a:r>
              <a:rPr lang="en-US" sz="2000" i="1" dirty="0">
                <a:ea typeface="Calibri"/>
                <a:cs typeface="Calibri"/>
              </a:rPr>
              <a:t>If you’re having trouble resource-mapping or connecting with an organization, please contact </a:t>
            </a:r>
            <a:r>
              <a:rPr lang="en-US" sz="2000" i="1" dirty="0">
                <a:ea typeface="Calibri"/>
                <a:cs typeface="Calibri"/>
                <a:hlinkClick r:id="rId3"/>
              </a:rPr>
              <a:t>kmoreno@northshore.org</a:t>
            </a:r>
            <a:r>
              <a:rPr lang="en-US" sz="2000" i="1" dirty="0">
                <a:ea typeface="Calibri"/>
                <a:cs typeface="Calibri"/>
              </a:rPr>
              <a:t> for additional assistance.</a:t>
            </a:r>
          </a:p>
        </p:txBody>
      </p:sp>
    </p:spTree>
    <p:extLst>
      <p:ext uri="{BB962C8B-B14F-4D97-AF65-F5344CB8AC3E}">
        <p14:creationId xmlns:p14="http://schemas.microsoft.com/office/powerpoint/2010/main" val="8296157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6E2E78-AF39-899F-12B8-B2CB05083D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BBF241-98B0-9802-5D27-73E07CE1D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>
                <a:ea typeface="Lato Medium"/>
                <a:cs typeface="Lato Medium"/>
              </a:rPr>
              <a:t>Community Corner: All about WIC</a:t>
            </a:r>
            <a:endParaRPr lang="en-US" sz="4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6D5C676-B7C1-BBCF-B4A5-BA724D5E0E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31031" y="2939873"/>
            <a:ext cx="9365380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3300" b="1" dirty="0">
                <a:ea typeface="Lato"/>
                <a:cs typeface="Lato"/>
              </a:rPr>
              <a:t>Stephanie Bess</a:t>
            </a:r>
            <a:endParaRPr lang="en-US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2614AFB-3E76-39C4-FD21-C6843DDEC39D}"/>
              </a:ext>
            </a:extLst>
          </p:cNvPr>
          <p:cNvSpPr txBox="1">
            <a:spLocks/>
          </p:cNvSpPr>
          <p:nvPr/>
        </p:nvSpPr>
        <p:spPr>
          <a:xfrm>
            <a:off x="1414098" y="3584879"/>
            <a:ext cx="9365380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23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46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69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91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11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300" i="1" dirty="0">
                <a:ea typeface="Lato"/>
                <a:cs typeface="Lato"/>
              </a:rPr>
              <a:t>Illinois WIC Director</a:t>
            </a:r>
            <a:endParaRPr lang="en-US" i="1"/>
          </a:p>
        </p:txBody>
      </p:sp>
    </p:spTree>
    <p:extLst>
      <p:ext uri="{BB962C8B-B14F-4D97-AF65-F5344CB8AC3E}">
        <p14:creationId xmlns:p14="http://schemas.microsoft.com/office/powerpoint/2010/main" val="221579879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8CD4B7-18A7-76E3-2CBA-3647A32E0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597246"/>
            <a:ext cx="9365380" cy="2014679"/>
          </a:xfrm>
        </p:spPr>
        <p:txBody>
          <a:bodyPr/>
          <a:lstStyle/>
          <a:p>
            <a:r>
              <a:rPr lang="en-US" sz="4400" dirty="0">
                <a:ea typeface="Lato Medium"/>
                <a:cs typeface="Lato Medium"/>
              </a:rPr>
              <a:t>Team Talk</a:t>
            </a:r>
            <a:endParaRPr lang="en-US" sz="4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68D812-8336-152D-B896-A021E583E3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582972"/>
            <a:ext cx="9365380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3300" i="1" dirty="0">
                <a:ea typeface="Lato"/>
                <a:cs typeface="Lato"/>
              </a:rPr>
              <a:t>Mount Sinai Chicago 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B7A13DD-55E9-03C6-60E1-81A85D09A445}"/>
              </a:ext>
            </a:extLst>
          </p:cNvPr>
          <p:cNvSpPr txBox="1">
            <a:spLocks/>
          </p:cNvSpPr>
          <p:nvPr/>
        </p:nvSpPr>
        <p:spPr>
          <a:xfrm>
            <a:off x="1413310" y="2819701"/>
            <a:ext cx="9365380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23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46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69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91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11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300" b="1" dirty="0">
                <a:ea typeface="Lato"/>
                <a:cs typeface="Lato"/>
              </a:rPr>
              <a:t>Mathura Ananthan</a:t>
            </a:r>
          </a:p>
        </p:txBody>
      </p:sp>
    </p:spTree>
    <p:extLst>
      <p:ext uri="{BB962C8B-B14F-4D97-AF65-F5344CB8AC3E}">
        <p14:creationId xmlns:p14="http://schemas.microsoft.com/office/powerpoint/2010/main" val="7770235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9455" y="3803863"/>
            <a:ext cx="10363200" cy="766763"/>
          </a:xfrm>
        </p:spPr>
        <p:txBody>
          <a:bodyPr/>
          <a:lstStyle/>
          <a:p>
            <a:r>
              <a:rPr lang="en-US" dirty="0"/>
              <a:t>Team Talk : Mount Sinai Hospital</a:t>
            </a:r>
          </a:p>
        </p:txBody>
      </p:sp>
      <p:sp>
        <p:nvSpPr>
          <p:cNvPr id="3" name="Rectangle 2"/>
          <p:cNvSpPr/>
          <p:nvPr/>
        </p:nvSpPr>
        <p:spPr>
          <a:xfrm>
            <a:off x="1277121" y="4570626"/>
            <a:ext cx="2069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thur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antha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14065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 descr="The Center for Hematology and Oncology at Mount Sinai Hospital - Sinai  Health System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2362740"/>
            <a:ext cx="6071285" cy="4050415"/>
          </a:xfrm>
          <a:prstGeom prst="rect">
            <a:avLst/>
          </a:prstGeom>
          <a:noFill/>
          <a:effectLst>
            <a:softEdge rad="393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Map of Chicago, IL, Illinois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32108" y="1918140"/>
            <a:ext cx="3459892" cy="4132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392964" y="261934"/>
            <a:ext cx="6096000" cy="255454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dress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500 S Fairfield Ave. Chicago, IL, 60608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inatal Level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inatal Network: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ush/AIMMC Perinatal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784532" y="596562"/>
            <a:ext cx="6096000" cy="5201424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e of the largest private healthcare Safety-Net systems in Illino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rth Volume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560 deliveries per ye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 Labor Delivery Rooms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C-section rooms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Triage Rooms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OR Suites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 PACU Beds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 Postpartum Room</a:t>
            </a:r>
          </a:p>
        </p:txBody>
      </p:sp>
      <p:pic>
        <p:nvPicPr>
          <p:cNvPr id="1028" name="Picture 4" descr="Star Icon - The Kids Mental Health Foundation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14252" y="596562"/>
            <a:ext cx="304629" cy="368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185004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133601" y="1491050"/>
            <a:ext cx="7710615" cy="12003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t>Equity and Safe Sleep for Infants Initiative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33601" y="2800866"/>
            <a:ext cx="81258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Sinai’s Slogan “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The cutest thing in the crib should only be your baby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”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Picture 3" descr="Safe Sleep | Children's Services ...">
            <a:extLst>
              <a:ext uri="{FF2B5EF4-FFF2-40B4-BE49-F238E27FC236}">
                <a16:creationId xmlns:a16="http://schemas.microsoft.com/office/drawing/2014/main" id="{0430784E-107E-0D7C-3CDC-C5CEF9DFD8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9241" y="3588968"/>
            <a:ext cx="3259334" cy="2196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6445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B60A4C-E21D-50DB-2691-10DE27BA4F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C8C0BD-D049-1C86-DF1B-B46B4EFF2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403" y="1410586"/>
            <a:ext cx="10393193" cy="2014679"/>
          </a:xfrm>
        </p:spPr>
        <p:txBody>
          <a:bodyPr/>
          <a:lstStyle/>
          <a:p>
            <a:r>
              <a:rPr lang="en-US" dirty="0"/>
              <a:t>Face-to-Face Confere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8E9428-4C73-BAE7-AD79-FD98F682AC0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EF4285-4715-1E06-84D4-25C815EB7D8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774989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178" y="321277"/>
            <a:ext cx="11350162" cy="5088898"/>
          </a:xfrm>
        </p:spPr>
        <p:txBody>
          <a:bodyPr/>
          <a:lstStyle/>
          <a:p>
            <a:r>
              <a:rPr lang="en-US" dirty="0"/>
              <a:t>SUIDS are the second most common cause of death among Chicagoans &lt; 1 year of age</a:t>
            </a:r>
          </a:p>
        </p:txBody>
      </p:sp>
      <p:sp>
        <p:nvSpPr>
          <p:cNvPr id="5" name="Rectangle 4"/>
          <p:cNvSpPr/>
          <p:nvPr/>
        </p:nvSpPr>
        <p:spPr>
          <a:xfrm>
            <a:off x="454660" y="5494638"/>
            <a:ext cx="69362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2"/>
              </a:rPr>
              <a:t>Sudden Unexpected Infant Death (SUID) (chicagohealthatlas.org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2" descr="\\mdpointfs\md\anamat\Public Desktop\Annotation 2024-09-24 125917.pn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09464" y="5097016"/>
            <a:ext cx="4982536" cy="757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\\mdpointfs\md\anamat\Public Desktop\Annotation 2024-09-24 130923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1074" y="931638"/>
            <a:ext cx="5411555" cy="404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anamat\Downloads\Chicago Health Atlas map of Sudden unexpected infant deaths in ZIP Codes (1).pn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52041" y="986485"/>
            <a:ext cx="2444110" cy="3666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7952041" y="3918702"/>
            <a:ext cx="225464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g Shoulders"/>
                <a:ea typeface="+mn-ea"/>
                <a:cs typeface="+mn-cs"/>
              </a:rPr>
              <a:t>6060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ora"/>
                <a:ea typeface="+mn-ea"/>
                <a:cs typeface="+mn-cs"/>
              </a:rPr>
              <a:t>SUI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or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ora"/>
                <a:ea typeface="+mn-ea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ora"/>
                <a:ea typeface="+mn-ea"/>
                <a:cs typeface="+mn-cs"/>
              </a:rPr>
              <a:t> count of infants</a:t>
            </a:r>
          </a:p>
        </p:txBody>
      </p:sp>
      <p:pic>
        <p:nvPicPr>
          <p:cNvPr id="9" name="Picture 2" descr="Single GOLD STAR on a NAVY BLUE Background | Photographic Print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V="1">
            <a:off x="9104074" y="2621522"/>
            <a:ext cx="140044" cy="17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066788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C9D5447-317B-C5C0-9C6A-7793D98E00D7}"/>
              </a:ext>
            </a:extLst>
          </p:cNvPr>
          <p:cNvSpPr txBox="1"/>
          <p:nvPr/>
        </p:nvSpPr>
        <p:spPr>
          <a:xfrm>
            <a:off x="761999" y="289775"/>
            <a:ext cx="7665995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 Mount Sinai Hospital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t> 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D33278-C8E2-F3E1-FD0A-A70D5D47931A}"/>
              </a:ext>
            </a:extLst>
          </p:cNvPr>
          <p:cNvSpPr txBox="1"/>
          <p:nvPr/>
        </p:nvSpPr>
        <p:spPr>
          <a:xfrm>
            <a:off x="327547" y="1444412"/>
            <a:ext cx="5679945" cy="35394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eue Haas Grotesk Text Pro"/>
                <a:ea typeface="Arial"/>
                <a:cs typeface="Arial"/>
              </a:rPr>
              <a:t>We practice safe sleep protocols while infants are with us in the hospital ​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ue Haas Grotesk Text Pro"/>
              <a:ea typeface="Arial"/>
              <a:cs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eue Haas Grotesk Text Pro"/>
                <a:ea typeface="Arial"/>
                <a:cs typeface="Arial"/>
              </a:rPr>
              <a:t>For 3 years in a row, we have maintained our National Gold Infant Safe Sleep Certification status through Cribs for Kids​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ue Haas Grotesk Text Pro"/>
              <a:ea typeface="Arial"/>
              <a:cs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"/>
              <a:buChar char="•"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eue Haas Grotesk Text Pro"/>
                <a:ea typeface="Arial"/>
                <a:cs typeface="Arial"/>
              </a:rPr>
              <a:t>Every shift our nurses do audits of their patients to ensure safe sleep practices are being followed ​</a:t>
            </a:r>
          </a:p>
          <a:p>
            <a:pPr marL="685800" marR="0" lvl="2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eue Haas Grotesk Text Pro"/>
                <a:ea typeface="Arial"/>
                <a:cs typeface="Arial"/>
              </a:rPr>
              <a:t>Patient education</a:t>
            </a:r>
          </a:p>
          <a:p>
            <a:pPr marL="685800" marR="0" lvl="2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eue Haas Grotesk Text Pro"/>
                <a:ea typeface="+mn-ea"/>
                <a:cs typeface="Arial"/>
              </a:rPr>
              <a:t>Crib Cards</a:t>
            </a:r>
          </a:p>
        </p:txBody>
      </p:sp>
      <p:pic>
        <p:nvPicPr>
          <p:cNvPr id="5" name="Picture 4" descr="A white sheet with black lines&#10;&#10;Description automatically generated">
            <a:extLst>
              <a:ext uri="{FF2B5EF4-FFF2-40B4-BE49-F238E27FC236}">
                <a16:creationId xmlns:a16="http://schemas.microsoft.com/office/drawing/2014/main" id="{42BB62C1-8D14-6367-0F8B-ADD1CDEAEAF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0205" y="1717283"/>
            <a:ext cx="6142264" cy="3977615"/>
          </a:xfrm>
          <a:prstGeom prst="rect">
            <a:avLst/>
          </a:prstGeom>
        </p:spPr>
      </p:pic>
      <p:pic>
        <p:nvPicPr>
          <p:cNvPr id="6" name="Picture 5" descr="A gold circle with a blue ribbon&#10;&#10;Description automatically generated">
            <a:extLst>
              <a:ext uri="{FF2B5EF4-FFF2-40B4-BE49-F238E27FC236}">
                <a16:creationId xmlns:a16="http://schemas.microsoft.com/office/drawing/2014/main" id="{FF79AD32-06F7-130C-361E-BFC2F478021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0305" y="294533"/>
            <a:ext cx="2733675" cy="165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81200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SSI Launch &amp; 2024 Successes </a:t>
            </a:r>
          </a:p>
        </p:txBody>
      </p:sp>
      <p:pic>
        <p:nvPicPr>
          <p:cNvPr id="5" name="Picture 8" descr="2,200+ Person Holding Microphone Stock Illustrations, Royalty-Free Vector  Graphics &amp; Clip Art - iStock | Person holding microphone interview, One  person holding microphone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45569" y="2447925"/>
            <a:ext cx="1920483" cy="1612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454660" y="1084213"/>
            <a:ext cx="947737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vider, Nurse and Staff Education on ESSI an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D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- E-modules (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y, June 2024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-Live in-service learning (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uly 2024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in all 3 departments (MBU, L&amp;D and NICU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             with 90.3% completion r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gration into EMR (EPIC)</a:t>
            </a:r>
          </a:p>
        </p:txBody>
      </p:sp>
      <p:pic>
        <p:nvPicPr>
          <p:cNvPr id="6" name="Picture 2" descr="Image preview">
            <a:extLst>
              <a:ext uri="{FF2B5EF4-FFF2-40B4-BE49-F238E27FC236}">
                <a16:creationId xmlns:a16="http://schemas.microsoft.com/office/drawing/2014/main" id="{8B375855-937D-FD40-29AB-5185AE9E59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88663" y="3392537"/>
            <a:ext cx="2906901" cy="232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747837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660" y="365128"/>
            <a:ext cx="10707610" cy="508084"/>
          </a:xfrm>
        </p:spPr>
        <p:txBody>
          <a:bodyPr>
            <a:normAutofit/>
          </a:bodyPr>
          <a:lstStyle/>
          <a:p>
            <a:r>
              <a:rPr lang="en-US" sz="2000" dirty="0"/>
              <a:t>Provider Educa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8372" y="873212"/>
            <a:ext cx="3945734" cy="4890488"/>
          </a:xfrm>
          <a:prstGeom prst="rect">
            <a:avLst/>
          </a:prstGeom>
        </p:spPr>
      </p:pic>
      <p:pic>
        <p:nvPicPr>
          <p:cNvPr id="1026" name="Picture 2" descr="\\mdpointfs\md\anamat\Public Desktop\Annotation 2025-02-12 133250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9291" y="1425146"/>
            <a:ext cx="5006545" cy="4069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885310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660" y="488952"/>
            <a:ext cx="11282680" cy="511529"/>
          </a:xfrm>
        </p:spPr>
        <p:txBody>
          <a:bodyPr>
            <a:noAutofit/>
          </a:bodyPr>
          <a:lstStyle/>
          <a:p>
            <a:r>
              <a:rPr lang="en-US" dirty="0"/>
              <a:t>For the Commun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660" y="1416050"/>
            <a:ext cx="11282680" cy="4155721"/>
          </a:xfrm>
        </p:spPr>
        <p:txBody>
          <a:bodyPr/>
          <a:lstStyle/>
          <a:p>
            <a:r>
              <a:rPr lang="en-US" sz="2400" dirty="0"/>
              <a:t>IDPH: Baby-ZZZ Grant Safe Sleep Program IL</a:t>
            </a:r>
          </a:p>
          <a:p>
            <a:endParaRPr lang="en-US" sz="2400" dirty="0"/>
          </a:p>
          <a:p>
            <a:pPr lvl="1"/>
            <a:r>
              <a:rPr lang="en-US" sz="2400" dirty="0"/>
              <a:t>Resources </a:t>
            </a:r>
            <a:br>
              <a:rPr lang="en-US" sz="2400" dirty="0"/>
            </a:br>
            <a:r>
              <a:rPr lang="en-US" sz="2400" dirty="0"/>
              <a:t>	-case management, </a:t>
            </a:r>
            <a:br>
              <a:rPr lang="en-US" sz="2400" dirty="0"/>
            </a:br>
            <a:r>
              <a:rPr lang="en-US" sz="2400" dirty="0"/>
              <a:t>   </a:t>
            </a:r>
            <a:r>
              <a:rPr lang="en-US" sz="2400" dirty="0" err="1"/>
              <a:t>cribettes,sleep</a:t>
            </a:r>
            <a:r>
              <a:rPr lang="en-US" sz="2400" dirty="0"/>
              <a:t> sacs</a:t>
            </a:r>
            <a:br>
              <a:rPr lang="en-US" sz="2400" dirty="0"/>
            </a:br>
            <a:endParaRPr lang="en-US" sz="2400" dirty="0"/>
          </a:p>
          <a:p>
            <a:pPr lvl="1"/>
            <a:r>
              <a:rPr lang="en-US" sz="2400" dirty="0"/>
              <a:t>Education</a:t>
            </a:r>
          </a:p>
          <a:p>
            <a:pPr marL="457200" lvl="1" indent="0">
              <a:buNone/>
            </a:pPr>
            <a:endParaRPr lang="en-US" sz="2400" dirty="0"/>
          </a:p>
          <a:p>
            <a:pPr lvl="1"/>
            <a:r>
              <a:rPr lang="en-US" sz="2400" dirty="0"/>
              <a:t>Community events </a:t>
            </a:r>
          </a:p>
          <a:p>
            <a:pPr lvl="1"/>
            <a:endParaRPr lang="en-US" dirty="0"/>
          </a:p>
        </p:txBody>
      </p:sp>
      <p:pic>
        <p:nvPicPr>
          <p:cNvPr id="5122" name="Picture 2" descr="Cribette – Cribs for Kids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10199" y="1881002"/>
            <a:ext cx="5534025" cy="3690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Family Connects Illinois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660" y="5087963"/>
            <a:ext cx="1922162" cy="1153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2734" y="2975211"/>
            <a:ext cx="1803266" cy="1803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60627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2601" y="425786"/>
            <a:ext cx="4309551" cy="558586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6050" y="430184"/>
            <a:ext cx="4254328" cy="558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05017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410546">
            <a:off x="564246" y="906893"/>
            <a:ext cx="5628067" cy="309644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atient &amp; Community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888101" y="3244696"/>
            <a:ext cx="2980356" cy="258950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Rectangle 4"/>
          <p:cNvSpPr/>
          <p:nvPr/>
        </p:nvSpPr>
        <p:spPr>
          <a:xfrm>
            <a:off x="2109100" y="5558261"/>
            <a:ext cx="247093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y 2024 Sinai Wellness Fai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6897" y="2571699"/>
            <a:ext cx="3335434" cy="3207690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2052" name="Picture 4" descr="Image preview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52807" y="4002100"/>
            <a:ext cx="3521501" cy="198084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preview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23928">
            <a:off x="8511523" y="2530947"/>
            <a:ext cx="2373511" cy="133510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Image preview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7954" y="391588"/>
            <a:ext cx="3862594" cy="217270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Rectangle 9"/>
          <p:cNvSpPr/>
          <p:nvPr/>
        </p:nvSpPr>
        <p:spPr>
          <a:xfrm>
            <a:off x="6870065" y="23022"/>
            <a:ext cx="47980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pectful Care Breakfast ESSI Focused Aug 8/24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73030" y="5794193"/>
            <a:ext cx="381707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3 Clear the Crib Challenge . Next one in Oct 2024</a:t>
            </a:r>
          </a:p>
        </p:txBody>
      </p:sp>
    </p:spTree>
    <p:extLst>
      <p:ext uri="{BB962C8B-B14F-4D97-AF65-F5344CB8AC3E}">
        <p14:creationId xmlns:p14="http://schemas.microsoft.com/office/powerpoint/2010/main" val="380636275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660" y="472992"/>
            <a:ext cx="11282680" cy="511529"/>
          </a:xfrm>
        </p:spPr>
        <p:txBody>
          <a:bodyPr>
            <a:normAutofit/>
          </a:bodyPr>
          <a:lstStyle/>
          <a:p>
            <a:r>
              <a:rPr lang="en-US" sz="1600" b="0" dirty="0"/>
              <a:t>Dr. Charles </a:t>
            </a:r>
            <a:r>
              <a:rPr lang="en-US" sz="1600" b="0" dirty="0" err="1"/>
              <a:t>Lampley</a:t>
            </a:r>
            <a:r>
              <a:rPr lang="en-US" sz="1600" b="0" dirty="0"/>
              <a:t> (MFM) from Sinai joined WGN (local news) to spread awareness on SUID to community</a:t>
            </a:r>
            <a:endParaRPr lang="en-US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54660" y="887686"/>
            <a:ext cx="11282680" cy="306828"/>
          </a:xfrm>
        </p:spPr>
        <p:txBody>
          <a:bodyPr>
            <a:normAutofit lnSpcReduction="10000"/>
          </a:bodyPr>
          <a:lstStyle/>
          <a:p>
            <a:r>
              <a:rPr lang="en-US" dirty="0">
                <a:hlinkClick r:id="rId2"/>
              </a:rPr>
              <a:t>https://wgntv.com/spotlight-chicago-sponsored-content/sudden-unexpected-infant-death-awareness-month/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1026" name="Picture 2" descr="\\mdpointfs\md\anamat\Public Desktop\Annotation 2025-02-12 125707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9805" y="1512373"/>
            <a:ext cx="4106648" cy="3714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WATCH: WGN News Now — WGN's Digital-Only Newscast | WGN-TV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6595" y="1302380"/>
            <a:ext cx="2274587" cy="1514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752425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6" descr="Light Blue Images – Browse 21,908,674 Stock Photos, Vectors, and Video |  Adobe Stock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51777" y="4238534"/>
            <a:ext cx="4021170" cy="132389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3834" y="934105"/>
            <a:ext cx="4529232" cy="511529"/>
          </a:xfrm>
        </p:spPr>
        <p:txBody>
          <a:bodyPr>
            <a:normAutofit/>
          </a:bodyPr>
          <a:lstStyle/>
          <a:p>
            <a:r>
              <a:rPr lang="en-US" sz="2800" dirty="0"/>
              <a:t>ESSI QI Team member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>
          <a:xfrm>
            <a:off x="4053309" y="1496096"/>
            <a:ext cx="3458313" cy="2781312"/>
          </a:xfrm>
        </p:spPr>
        <p:txBody>
          <a:bodyPr>
            <a:normAutofit/>
          </a:bodyPr>
          <a:lstStyle/>
          <a:p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r. Hari Srinivasan</a:t>
            </a:r>
          </a:p>
          <a:p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r. Victoria Geraldo</a:t>
            </a:r>
          </a:p>
          <a:p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ura Griffith-Gilbert</a:t>
            </a:r>
          </a:p>
          <a:p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rene Cisneros</a:t>
            </a:r>
          </a:p>
          <a:p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nie Hernandez</a:t>
            </a:r>
          </a:p>
          <a:p>
            <a:endParaRPr lang="en-US" sz="1400" dirty="0"/>
          </a:p>
        </p:txBody>
      </p:sp>
      <p:pic>
        <p:nvPicPr>
          <p:cNvPr id="4" name="Picture 8" descr="1,700+ Thank You Post It Note Stock Photos, Pictures &amp; Royalty-Free Images  - iStock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21384342">
            <a:off x="749336" y="753283"/>
            <a:ext cx="2944361" cy="2772964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17680" y="4415666"/>
            <a:ext cx="52000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ay!!! All of Sinai’s Structure Measures are In Place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anose="05000000000000000000" pitchFamily="2" charset="2"/>
              </a:rPr>
              <a:t>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71522" y="1481473"/>
            <a:ext cx="247561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B509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thura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B509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nthan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B509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B509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erilyn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B509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ixon-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B509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m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B509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B509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inti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B509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lvarado-So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B509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ankie Delg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B509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wena De Le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B509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uran Skirvin</a:t>
            </a:r>
          </a:p>
        </p:txBody>
      </p:sp>
    </p:spTree>
    <p:extLst>
      <p:ext uri="{BB962C8B-B14F-4D97-AF65-F5344CB8AC3E}">
        <p14:creationId xmlns:p14="http://schemas.microsoft.com/office/powerpoint/2010/main" val="115638796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79978-6647-EDE0-87A0-C3A213094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1748536"/>
            <a:ext cx="9365380" cy="1676012"/>
          </a:xfrm>
        </p:spPr>
        <p:txBody>
          <a:bodyPr/>
          <a:lstStyle/>
          <a:p>
            <a:r>
              <a:rPr lang="en-US" sz="4400" dirty="0">
                <a:ea typeface="Lato Medium"/>
                <a:cs typeface="Lato Medium"/>
              </a:rPr>
              <a:t>Announcements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35589601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367">
          <a:extLst>
            <a:ext uri="{FF2B5EF4-FFF2-40B4-BE49-F238E27FC236}">
              <a16:creationId xmlns:a16="http://schemas.microsoft.com/office/drawing/2014/main" id="{3A4CAF16-72F5-AF0F-BB0E-706332EB8C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22657D-41D7-D21D-3C90-34FD5DE5FBC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641" y="662153"/>
            <a:ext cx="8609001" cy="488340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pic>
      <p:sp>
        <p:nvSpPr>
          <p:cNvPr id="370" name="Google Shape;370;p16">
            <a:extLst>
              <a:ext uri="{FF2B5EF4-FFF2-40B4-BE49-F238E27FC236}">
                <a16:creationId xmlns:a16="http://schemas.microsoft.com/office/drawing/2014/main" id="{81FB2248-71E6-74FD-4961-D3E3385698E1}"/>
              </a:ext>
            </a:extLst>
          </p:cNvPr>
          <p:cNvSpPr txBox="1">
            <a:spLocks noGrp="1"/>
          </p:cNvSpPr>
          <p:nvPr>
            <p:ph type="sldNum" sz="quarter" idx="4294967295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EB3B7"/>
                </a:buClr>
                <a:buSzPts val="1200"/>
                <a:buFont typeface="Calibri"/>
                <a:buNone/>
                <a:tabLst/>
                <a:defRPr/>
              </a:pPr>
              <a:t>5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8" name="Google Shape;368;p16">
            <a:extLst>
              <a:ext uri="{FF2B5EF4-FFF2-40B4-BE49-F238E27FC236}">
                <a16:creationId xmlns:a16="http://schemas.microsoft.com/office/drawing/2014/main" id="{4FAF6C6D-57DB-F80E-FCDA-A1798158F3E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968276" y="2079872"/>
            <a:ext cx="3223724" cy="2047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spcBef>
                <a:spcPts val="0"/>
              </a:spcBef>
              <a:buClr>
                <a:schemeClr val="accent1"/>
              </a:buClr>
              <a:buSzPts val="4000"/>
            </a:pPr>
            <a:r>
              <a:rPr lang="en-US" sz="3500" u="sng" dirty="0">
                <a:ea typeface="Lato Medium"/>
                <a:cs typeface="Lato Medium"/>
              </a:rPr>
              <a:t>Registration and Hotel Block Opening 2/28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8454FA-6315-1006-5E04-3206C99FAE7F}"/>
              </a:ext>
            </a:extLst>
          </p:cNvPr>
          <p:cNvSpPr txBox="1"/>
          <p:nvPr/>
        </p:nvSpPr>
        <p:spPr>
          <a:xfrm>
            <a:off x="2960964" y="5755505"/>
            <a:ext cx="9315119" cy="8925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Make sure at least one </a:t>
            </a:r>
            <a:r>
              <a:rPr kumimoji="0" lang="en-US" sz="2600" b="1" i="1" u="none" strike="noStrike" kern="1200" cap="none" spc="0" normalizeH="0" baseline="0" noProof="0" dirty="0">
                <a:ln>
                  <a:noFill/>
                </a:ln>
                <a:solidFill>
                  <a:srgbClr val="F3F6FB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physician champion,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one</a:t>
            </a:r>
            <a:r>
              <a:rPr kumimoji="0" lang="en-US" sz="2600" b="1" i="1" u="none" strike="noStrike" kern="1200" cap="none" spc="0" normalizeH="0" baseline="0" noProof="0" dirty="0">
                <a:ln>
                  <a:noFill/>
                </a:ln>
                <a:solidFill>
                  <a:srgbClr val="F3F6FB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 nurse champion,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and a </a:t>
            </a:r>
            <a:r>
              <a:rPr kumimoji="0" lang="en-US" sz="2600" b="1" i="1" u="none" strike="noStrike" kern="1200" cap="none" spc="0" normalizeH="0" baseline="0" noProof="0" dirty="0">
                <a:ln>
                  <a:noFill/>
                </a:ln>
                <a:solidFill>
                  <a:srgbClr val="F3F6FB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patient partner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attend to represent your hospital.  </a:t>
            </a:r>
          </a:p>
        </p:txBody>
      </p:sp>
      <p:sp>
        <p:nvSpPr>
          <p:cNvPr id="23" name="Rectangle 1">
            <a:extLst>
              <a:ext uri="{FF2B5EF4-FFF2-40B4-BE49-F238E27FC236}">
                <a16:creationId xmlns:a16="http://schemas.microsoft.com/office/drawing/2014/main" id="{F3A79835-8077-9316-16AA-6DC84DBB37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EE29396C-C402-B14A-D297-51F6D2A897C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07" y="5396024"/>
            <a:ext cx="3014545" cy="146197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C6C6E6-9EED-A922-78BE-7C00B9D1E7D7}"/>
              </a:ext>
            </a:extLst>
          </p:cNvPr>
          <p:cNvSpPr txBox="1"/>
          <p:nvPr/>
        </p:nvSpPr>
        <p:spPr>
          <a:xfrm>
            <a:off x="598455" y="3589232"/>
            <a:ext cx="198964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ime: 9 am – 4 pm </a:t>
            </a:r>
          </a:p>
          <a:p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Time: 9 am – 3:45 pm</a:t>
            </a:r>
          </a:p>
        </p:txBody>
      </p:sp>
    </p:spTree>
    <p:extLst>
      <p:ext uri="{BB962C8B-B14F-4D97-AF65-F5344CB8AC3E}">
        <p14:creationId xmlns:p14="http://schemas.microsoft.com/office/powerpoint/2010/main" val="362245649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C58968-3A30-0BF0-3422-9082542FE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4BE0FF-6558-49E3-2B04-24A39D694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0414" y="300387"/>
            <a:ext cx="10972800" cy="1325563"/>
          </a:xfrm>
        </p:spPr>
        <p:txBody>
          <a:bodyPr/>
          <a:lstStyle/>
          <a:p>
            <a:r>
              <a:rPr lang="en-US" dirty="0">
                <a:cs typeface="Lato Medium"/>
              </a:rPr>
              <a:t>Coming Soon!* </a:t>
            </a:r>
            <a:br>
              <a:rPr lang="en-US" dirty="0">
                <a:cs typeface="Lato Medium"/>
              </a:rPr>
            </a:br>
            <a:r>
              <a:rPr lang="en-US" sz="3000" b="0" i="1" dirty="0">
                <a:cs typeface="Lato Medium"/>
              </a:rPr>
              <a:t>Safe Sleep Conversations Tip Sheet</a:t>
            </a:r>
            <a:endParaRPr lang="en-US" sz="3000" b="0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1C070C-6CE6-B0DC-667F-21FA8EFC93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5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51480F-667A-6191-2C6C-ECC5964B0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97FF53D-2DB6-02AB-E093-D98E050263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159" y="1609080"/>
            <a:ext cx="5790661" cy="4351338"/>
          </a:xfrm>
        </p:spPr>
        <p:txBody>
          <a:bodyPr/>
          <a:lstStyle/>
          <a:p>
            <a:pPr marL="457200" lvl="1" indent="0">
              <a:buNone/>
            </a:pPr>
            <a:r>
              <a:rPr lang="en-US" sz="3500" dirty="0"/>
              <a:t>Resource on conversation tips when facilitating safe sleep education and navigating difficult topics, including resources to consult and best practices.</a:t>
            </a:r>
          </a:p>
        </p:txBody>
      </p:sp>
      <p:pic>
        <p:nvPicPr>
          <p:cNvPr id="6" name="Picture 5" descr="A baby care plan with text&#10;&#10;AI-generated content may be incorrect.">
            <a:extLst>
              <a:ext uri="{FF2B5EF4-FFF2-40B4-BE49-F238E27FC236}">
                <a16:creationId xmlns:a16="http://schemas.microsoft.com/office/drawing/2014/main" id="{8892DAA2-59C9-59E7-BBC0-8E24EABE61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694" y="393377"/>
            <a:ext cx="4173775" cy="5332332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F3BADE9-EC6E-A8EA-7B2B-2EE843BEA61E}"/>
              </a:ext>
            </a:extLst>
          </p:cNvPr>
          <p:cNvSpPr/>
          <p:nvPr/>
        </p:nvSpPr>
        <p:spPr>
          <a:xfrm>
            <a:off x="7082404" y="1204993"/>
            <a:ext cx="2960177" cy="389007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 descr="Postit Notes outline">
            <a:extLst>
              <a:ext uri="{FF2B5EF4-FFF2-40B4-BE49-F238E27FC236}">
                <a16:creationId xmlns:a16="http://schemas.microsoft.com/office/drawing/2014/main" id="{7BD8CEBE-6EE1-2A50-ABBA-CFAD78BBEF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64803" y="1797806"/>
            <a:ext cx="1995377" cy="199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19169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91438" y="182817"/>
            <a:ext cx="6004561" cy="2702462"/>
          </a:xfrm>
          <a:custGeom>
            <a:avLst/>
            <a:gdLst/>
            <a:ahLst/>
            <a:cxnLst/>
            <a:rect l="l" t="t" r="r" b="b"/>
            <a:pathLst>
              <a:path w="5364112" h="3272455">
                <a:moveTo>
                  <a:pt x="0" y="0"/>
                </a:moveTo>
                <a:lnTo>
                  <a:pt x="5364112" y="0"/>
                </a:lnTo>
                <a:lnTo>
                  <a:pt x="5364112" y="3272454"/>
                </a:lnTo>
                <a:lnTo>
                  <a:pt x="0" y="3272454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-16733"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3" name="TextBox 12">
            <a:extLst>
              <a:ext uri="{FF2B5EF4-FFF2-40B4-BE49-F238E27FC236}">
                <a16:creationId xmlns:a16="http://schemas.microsoft.com/office/drawing/2014/main" id="{7320D201-6E65-F457-583C-8B25C2BFEEA8}"/>
              </a:ext>
            </a:extLst>
          </p:cNvPr>
          <p:cNvSpPr txBox="1"/>
          <p:nvPr/>
        </p:nvSpPr>
        <p:spPr>
          <a:xfrm>
            <a:off x="5512903" y="439097"/>
            <a:ext cx="6490205" cy="244618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173"/>
              </a:lnSpc>
              <a:spcBef>
                <a:spcPct val="0"/>
              </a:spcBef>
            </a:pPr>
            <a:r>
              <a:rPr lang="en-US" sz="2250" dirty="0" err="1">
                <a:solidFill>
                  <a:srgbClr val="000000"/>
                </a:solidFill>
                <a:latin typeface="Prompt"/>
                <a:ea typeface="Canva Sans"/>
                <a:cs typeface="Canva Sans"/>
                <a:sym typeface="Canva Sans"/>
              </a:rPr>
              <a:t>MoMMA’s</a:t>
            </a:r>
            <a:r>
              <a:rPr lang="en-US" sz="2250" dirty="0">
                <a:solidFill>
                  <a:srgbClr val="000000"/>
                </a:solidFill>
                <a:latin typeface="Prompt"/>
                <a:ea typeface="Canva Sans"/>
                <a:cs typeface="Canva Sans"/>
                <a:sym typeface="Canva Sans"/>
              </a:rPr>
              <a:t> Voices is an organization dedicated to amplifying the voices of people who have experienced pregnancy or childbirth complications or loss, especially from individuals who have been historically marginalized. </a:t>
            </a:r>
            <a:endParaRPr lang="en-US" sz="2250" dirty="0">
              <a:solidFill>
                <a:srgbClr val="000000"/>
              </a:solidFill>
              <a:latin typeface="Prompt"/>
              <a:ea typeface="Canva Sans"/>
              <a:cs typeface="Canva Sans"/>
            </a:endParaRPr>
          </a:p>
        </p:txBody>
      </p:sp>
      <p:sp>
        <p:nvSpPr>
          <p:cNvPr id="4" name="TextBox 12">
            <a:extLst>
              <a:ext uri="{FF2B5EF4-FFF2-40B4-BE49-F238E27FC236}">
                <a16:creationId xmlns:a16="http://schemas.microsoft.com/office/drawing/2014/main" id="{E4D5C389-F7F2-6C2F-8648-2CDC7EB4433C}"/>
              </a:ext>
            </a:extLst>
          </p:cNvPr>
          <p:cNvSpPr txBox="1"/>
          <p:nvPr/>
        </p:nvSpPr>
        <p:spPr>
          <a:xfrm>
            <a:off x="199917" y="3043385"/>
            <a:ext cx="8727107" cy="20358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173"/>
              </a:lnSpc>
              <a:spcBef>
                <a:spcPct val="0"/>
              </a:spcBef>
            </a:pPr>
            <a:r>
              <a:rPr lang="en-US" sz="2000" i="1" dirty="0">
                <a:solidFill>
                  <a:srgbClr val="000000"/>
                </a:solidFill>
                <a:latin typeface="Prompt"/>
                <a:ea typeface="Canva Sans"/>
                <a:cs typeface="Canva Sans"/>
                <a:sym typeface="Canva Sans"/>
              </a:rPr>
              <a:t>Offers the following trainings and resources:</a:t>
            </a:r>
          </a:p>
          <a:p>
            <a:pPr marL="342900" indent="-342900" algn="l">
              <a:lnSpc>
                <a:spcPts val="3173"/>
              </a:lnSpc>
              <a:spcBef>
                <a:spcPct val="0"/>
              </a:spcBef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Prompt"/>
                <a:ea typeface="Canva Sans"/>
                <a:cs typeface="Canva Sans"/>
                <a:sym typeface="Canva Sans"/>
              </a:rPr>
              <a:t>Patient Family Partner Certification</a:t>
            </a:r>
          </a:p>
          <a:p>
            <a:pPr marL="342900" indent="-342900" algn="l">
              <a:lnSpc>
                <a:spcPts val="3173"/>
              </a:lnSpc>
              <a:spcBef>
                <a:spcPct val="0"/>
              </a:spcBef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Prompt"/>
                <a:ea typeface="Canva Sans"/>
                <a:cs typeface="Canva Sans"/>
                <a:sym typeface="Canva Sans"/>
              </a:rPr>
              <a:t>Lived Experience Integration Mini Course</a:t>
            </a:r>
          </a:p>
          <a:p>
            <a:pPr marL="342900" indent="-342900" algn="l">
              <a:lnSpc>
                <a:spcPts val="3173"/>
              </a:lnSpc>
              <a:spcBef>
                <a:spcPct val="0"/>
              </a:spcBef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Prompt"/>
                <a:ea typeface="Canva Sans"/>
                <a:cs typeface="Canva Sans"/>
                <a:sym typeface="Canva Sans"/>
              </a:rPr>
              <a:t>Matchmaking services for parent voices</a:t>
            </a:r>
          </a:p>
          <a:p>
            <a:pPr marL="342900" indent="-342900" algn="l">
              <a:lnSpc>
                <a:spcPts val="3173"/>
              </a:lnSpc>
              <a:spcBef>
                <a:spcPct val="0"/>
              </a:spcBef>
              <a:buFontTx/>
              <a:buChar char="-"/>
            </a:pPr>
            <a:r>
              <a:rPr lang="en-US" sz="2000" dirty="0">
                <a:solidFill>
                  <a:srgbClr val="000000"/>
                </a:solidFill>
                <a:latin typeface="Prompt"/>
                <a:ea typeface="Canva Sans"/>
                <a:cs typeface="Canva Sans"/>
                <a:sym typeface="Canva Sans"/>
              </a:rPr>
              <a:t>QI Community of Learning Webinars</a:t>
            </a:r>
            <a:endParaRPr lang="en-US" sz="2000" dirty="0">
              <a:solidFill>
                <a:srgbClr val="000000"/>
              </a:solidFill>
              <a:latin typeface="Prompt"/>
              <a:ea typeface="Canva Sans"/>
              <a:cs typeface="Canva Sans"/>
            </a:endParaRPr>
          </a:p>
        </p:txBody>
      </p:sp>
      <p:pic>
        <p:nvPicPr>
          <p:cNvPr id="6" name="Picture 5" descr="A blue background with white text and pink and white numbers&#10;&#10;AI-generated content may be incorrect.">
            <a:extLst>
              <a:ext uri="{FF2B5EF4-FFF2-40B4-BE49-F238E27FC236}">
                <a16:creationId xmlns:a16="http://schemas.microsoft.com/office/drawing/2014/main" id="{193239D8-B876-0368-9D49-5DA9DCE6C29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595"/>
          <a:stretch/>
        </p:blipFill>
        <p:spPr>
          <a:xfrm>
            <a:off x="199917" y="5237306"/>
            <a:ext cx="9824484" cy="1478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98510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8A17BB-D277-FD98-62F7-1D65225FE8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>
            <a:extLst>
              <a:ext uri="{FF2B5EF4-FFF2-40B4-BE49-F238E27FC236}">
                <a16:creationId xmlns:a16="http://schemas.microsoft.com/office/drawing/2014/main" id="{A1A57928-A8A5-587F-1937-434AD4402513}"/>
              </a:ext>
            </a:extLst>
          </p:cNvPr>
          <p:cNvSpPr/>
          <p:nvPr/>
        </p:nvSpPr>
        <p:spPr>
          <a:xfrm>
            <a:off x="0" y="19399"/>
            <a:ext cx="3576075" cy="2181637"/>
          </a:xfrm>
          <a:custGeom>
            <a:avLst/>
            <a:gdLst/>
            <a:ahLst/>
            <a:cxnLst/>
            <a:rect l="l" t="t" r="r" b="b"/>
            <a:pathLst>
              <a:path w="5364112" h="3272455">
                <a:moveTo>
                  <a:pt x="0" y="0"/>
                </a:moveTo>
                <a:lnTo>
                  <a:pt x="5364112" y="0"/>
                </a:lnTo>
                <a:lnTo>
                  <a:pt x="5364112" y="3272454"/>
                </a:lnTo>
                <a:lnTo>
                  <a:pt x="0" y="3272454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-16733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>
            <a:extLst>
              <a:ext uri="{FF2B5EF4-FFF2-40B4-BE49-F238E27FC236}">
                <a16:creationId xmlns:a16="http://schemas.microsoft.com/office/drawing/2014/main" id="{0229A9EF-5F25-6789-8EBC-6D19DAC74DE8}"/>
              </a:ext>
            </a:extLst>
          </p:cNvPr>
          <p:cNvSpPr/>
          <p:nvPr/>
        </p:nvSpPr>
        <p:spPr>
          <a:xfrm>
            <a:off x="183919" y="1910193"/>
            <a:ext cx="5623333" cy="1311255"/>
          </a:xfrm>
          <a:custGeom>
            <a:avLst/>
            <a:gdLst/>
            <a:ahLst/>
            <a:cxnLst/>
            <a:rect l="l" t="t" r="r" b="b"/>
            <a:pathLst>
              <a:path w="8043506" h="2232073">
                <a:moveTo>
                  <a:pt x="0" y="0"/>
                </a:moveTo>
                <a:lnTo>
                  <a:pt x="8043505" y="0"/>
                </a:lnTo>
                <a:lnTo>
                  <a:pt x="8043505" y="2232073"/>
                </a:lnTo>
                <a:lnTo>
                  <a:pt x="0" y="2232073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4" name="Freeform 4">
            <a:extLst>
              <a:ext uri="{FF2B5EF4-FFF2-40B4-BE49-F238E27FC236}">
                <a16:creationId xmlns:a16="http://schemas.microsoft.com/office/drawing/2014/main" id="{7D8C5779-598B-DB25-03A3-36FB84CF63F4}"/>
              </a:ext>
            </a:extLst>
          </p:cNvPr>
          <p:cNvSpPr/>
          <p:nvPr/>
        </p:nvSpPr>
        <p:spPr>
          <a:xfrm>
            <a:off x="7513796" y="4459294"/>
            <a:ext cx="4503027" cy="2245885"/>
          </a:xfrm>
          <a:custGeom>
            <a:avLst/>
            <a:gdLst/>
            <a:ahLst/>
            <a:cxnLst/>
            <a:rect l="l" t="t" r="r" b="b"/>
            <a:pathLst>
              <a:path w="6754540" h="3368827">
                <a:moveTo>
                  <a:pt x="0" y="0"/>
                </a:moveTo>
                <a:lnTo>
                  <a:pt x="6754540" y="0"/>
                </a:lnTo>
                <a:lnTo>
                  <a:pt x="6754540" y="3368827"/>
                </a:lnTo>
                <a:lnTo>
                  <a:pt x="0" y="3368827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5" name="Group 5">
            <a:extLst>
              <a:ext uri="{FF2B5EF4-FFF2-40B4-BE49-F238E27FC236}">
                <a16:creationId xmlns:a16="http://schemas.microsoft.com/office/drawing/2014/main" id="{9B3C9EDE-D944-4AC2-A47A-51E45970DD6B}"/>
              </a:ext>
            </a:extLst>
          </p:cNvPr>
          <p:cNvGrpSpPr/>
          <p:nvPr/>
        </p:nvGrpSpPr>
        <p:grpSpPr>
          <a:xfrm>
            <a:off x="183919" y="5061560"/>
            <a:ext cx="4460584" cy="609975"/>
            <a:chOff x="0" y="0"/>
            <a:chExt cx="1762206" cy="240978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B3785C9D-3B86-FBEA-BA30-3AD162D71BCE}"/>
                </a:ext>
              </a:extLst>
            </p:cNvPr>
            <p:cNvSpPr/>
            <p:nvPr/>
          </p:nvSpPr>
          <p:spPr>
            <a:xfrm>
              <a:off x="0" y="0"/>
              <a:ext cx="1762206" cy="240978"/>
            </a:xfrm>
            <a:custGeom>
              <a:avLst/>
              <a:gdLst/>
              <a:ahLst/>
              <a:cxnLst/>
              <a:rect l="l" t="t" r="r" b="b"/>
              <a:pathLst>
                <a:path w="1762206" h="240978">
                  <a:moveTo>
                    <a:pt x="0" y="0"/>
                  </a:moveTo>
                  <a:lnTo>
                    <a:pt x="1762206" y="0"/>
                  </a:lnTo>
                  <a:lnTo>
                    <a:pt x="1762206" y="240978"/>
                  </a:lnTo>
                  <a:lnTo>
                    <a:pt x="0" y="240978"/>
                  </a:lnTo>
                  <a:close/>
                </a:path>
              </a:pathLst>
            </a:custGeom>
            <a:solidFill>
              <a:srgbClr val="ED1B92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TextBox 7">
              <a:extLst>
                <a:ext uri="{FF2B5EF4-FFF2-40B4-BE49-F238E27FC236}">
                  <a16:creationId xmlns:a16="http://schemas.microsoft.com/office/drawing/2014/main" id="{483F9D58-3179-3255-76D6-478C083F249B}"/>
                </a:ext>
              </a:extLst>
            </p:cNvPr>
            <p:cNvSpPr txBox="1"/>
            <p:nvPr/>
          </p:nvSpPr>
          <p:spPr>
            <a:xfrm>
              <a:off x="0" y="-38100"/>
              <a:ext cx="1762206" cy="279078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sp>
        <p:nvSpPr>
          <p:cNvPr id="8" name="Freeform 8">
            <a:extLst>
              <a:ext uri="{FF2B5EF4-FFF2-40B4-BE49-F238E27FC236}">
                <a16:creationId xmlns:a16="http://schemas.microsoft.com/office/drawing/2014/main" id="{66A1E1C5-5BBC-8297-ED95-2A136C935CD2}"/>
              </a:ext>
            </a:extLst>
          </p:cNvPr>
          <p:cNvSpPr/>
          <p:nvPr/>
        </p:nvSpPr>
        <p:spPr>
          <a:xfrm>
            <a:off x="7446828" y="1766958"/>
            <a:ext cx="4636962" cy="2260519"/>
          </a:xfrm>
          <a:custGeom>
            <a:avLst/>
            <a:gdLst/>
            <a:ahLst/>
            <a:cxnLst/>
            <a:rect l="l" t="t" r="r" b="b"/>
            <a:pathLst>
              <a:path w="6955443" h="3390779">
                <a:moveTo>
                  <a:pt x="0" y="0"/>
                </a:moveTo>
                <a:lnTo>
                  <a:pt x="6955444" y="0"/>
                </a:lnTo>
                <a:lnTo>
                  <a:pt x="6955444" y="3390779"/>
                </a:lnTo>
                <a:lnTo>
                  <a:pt x="0" y="3390779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9" name="Group 9">
            <a:extLst>
              <a:ext uri="{FF2B5EF4-FFF2-40B4-BE49-F238E27FC236}">
                <a16:creationId xmlns:a16="http://schemas.microsoft.com/office/drawing/2014/main" id="{9975D62B-E7D7-7084-C041-6C6EEC34C469}"/>
              </a:ext>
            </a:extLst>
          </p:cNvPr>
          <p:cNvGrpSpPr/>
          <p:nvPr/>
        </p:nvGrpSpPr>
        <p:grpSpPr>
          <a:xfrm>
            <a:off x="6929863" y="5719713"/>
            <a:ext cx="1033931" cy="985465"/>
            <a:chOff x="0" y="0"/>
            <a:chExt cx="812800" cy="774700"/>
          </a:xfrm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758FE5E0-0FEB-0F19-113F-F184C1431512}"/>
                </a:ext>
              </a:extLst>
            </p:cNvPr>
            <p:cNvSpPr/>
            <p:nvPr/>
          </p:nvSpPr>
          <p:spPr>
            <a:xfrm>
              <a:off x="0" y="0"/>
              <a:ext cx="812800" cy="774700"/>
            </a:xfrm>
            <a:custGeom>
              <a:avLst/>
              <a:gdLst/>
              <a:ahLst/>
              <a:cxnLst/>
              <a:rect l="l" t="t" r="r" b="b"/>
              <a:pathLst>
                <a:path w="812800" h="774700">
                  <a:moveTo>
                    <a:pt x="406400" y="0"/>
                  </a:moveTo>
                  <a:lnTo>
                    <a:pt x="502338" y="295909"/>
                  </a:lnTo>
                  <a:lnTo>
                    <a:pt x="812800" y="295909"/>
                  </a:lnTo>
                  <a:lnTo>
                    <a:pt x="561631" y="478791"/>
                  </a:lnTo>
                  <a:lnTo>
                    <a:pt x="657569" y="774700"/>
                  </a:lnTo>
                  <a:lnTo>
                    <a:pt x="406400" y="591819"/>
                  </a:lnTo>
                  <a:lnTo>
                    <a:pt x="155231" y="774700"/>
                  </a:lnTo>
                  <a:lnTo>
                    <a:pt x="251169" y="478791"/>
                  </a:lnTo>
                  <a:lnTo>
                    <a:pt x="0" y="295909"/>
                  </a:lnTo>
                  <a:lnTo>
                    <a:pt x="310462" y="295909"/>
                  </a:lnTo>
                  <a:lnTo>
                    <a:pt x="406400" y="0"/>
                  </a:lnTo>
                  <a:close/>
                </a:path>
              </a:pathLst>
            </a:custGeom>
            <a:solidFill>
              <a:srgbClr val="ED1B92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11">
              <a:extLst>
                <a:ext uri="{FF2B5EF4-FFF2-40B4-BE49-F238E27FC236}">
                  <a16:creationId xmlns:a16="http://schemas.microsoft.com/office/drawing/2014/main" id="{5CA2C2BA-95FF-330F-5434-6146E7AF9712}"/>
                </a:ext>
              </a:extLst>
            </p:cNvPr>
            <p:cNvSpPr txBox="1"/>
            <p:nvPr/>
          </p:nvSpPr>
          <p:spPr>
            <a:xfrm>
              <a:off x="228600" y="228600"/>
              <a:ext cx="355600" cy="3810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12" name="TextBox 12">
            <a:extLst>
              <a:ext uri="{FF2B5EF4-FFF2-40B4-BE49-F238E27FC236}">
                <a16:creationId xmlns:a16="http://schemas.microsoft.com/office/drawing/2014/main" id="{5C2E40D1-FEEA-10AD-105D-05746B8A9B5D}"/>
              </a:ext>
            </a:extLst>
          </p:cNvPr>
          <p:cNvSpPr txBox="1"/>
          <p:nvPr/>
        </p:nvSpPr>
        <p:spPr>
          <a:xfrm>
            <a:off x="3708700" y="335974"/>
            <a:ext cx="7170896" cy="121507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173"/>
              </a:lnSpc>
              <a:spcBef>
                <a:spcPct val="0"/>
              </a:spcBef>
            </a:pPr>
            <a:r>
              <a:rPr lang="en-US" sz="2250" b="1" u="sng" dirty="0">
                <a:solidFill>
                  <a:schemeClr val="tx2"/>
                </a:solidFill>
                <a:latin typeface="Prompt"/>
                <a:ea typeface="Canva Sans"/>
                <a:cs typeface="Canva Sans"/>
                <a:sym typeface="Canva Sans"/>
              </a:rPr>
              <a:t>Training Opportunity for You! </a:t>
            </a:r>
          </a:p>
          <a:p>
            <a:pPr algn="l">
              <a:lnSpc>
                <a:spcPts val="3173"/>
              </a:lnSpc>
              <a:spcBef>
                <a:spcPct val="0"/>
              </a:spcBef>
            </a:pPr>
            <a:r>
              <a:rPr lang="en-US" sz="2250" dirty="0">
                <a:solidFill>
                  <a:srgbClr val="000000"/>
                </a:solidFill>
                <a:latin typeface="Prompt"/>
                <a:ea typeface="Canva Sans"/>
                <a:cs typeface="Canva Sans"/>
                <a:sym typeface="Canva Sans"/>
              </a:rPr>
              <a:t>Get to green on engaging a parent partner as part of your QI Team. </a:t>
            </a:r>
            <a:endParaRPr lang="en-US" sz="2250" dirty="0">
              <a:solidFill>
                <a:srgbClr val="000000"/>
              </a:solidFill>
              <a:latin typeface="Prompt"/>
              <a:ea typeface="Canva Sans"/>
              <a:cs typeface="Canva Sans"/>
            </a:endParaRPr>
          </a:p>
        </p:txBody>
      </p:sp>
      <p:sp>
        <p:nvSpPr>
          <p:cNvPr id="13" name="TextBox 13">
            <a:extLst>
              <a:ext uri="{FF2B5EF4-FFF2-40B4-BE49-F238E27FC236}">
                <a16:creationId xmlns:a16="http://schemas.microsoft.com/office/drawing/2014/main" id="{4F9F5949-7AD3-C4D1-62E0-E1D8EB4658E4}"/>
              </a:ext>
            </a:extLst>
          </p:cNvPr>
          <p:cNvSpPr txBox="1"/>
          <p:nvPr/>
        </p:nvSpPr>
        <p:spPr>
          <a:xfrm>
            <a:off x="193785" y="3352084"/>
            <a:ext cx="7783471" cy="2026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173"/>
              </a:lnSpc>
            </a:pPr>
            <a:r>
              <a:rPr lang="en-US" sz="2000" dirty="0">
                <a:solidFill>
                  <a:srgbClr val="000000"/>
                </a:solidFill>
                <a:latin typeface="Prompt"/>
                <a:ea typeface="Canva Sans"/>
                <a:cs typeface="Canva Sans"/>
                <a:sym typeface="Canva Sans"/>
              </a:rPr>
              <a:t>This unique four-week program, featuring just </a:t>
            </a:r>
            <a:r>
              <a:rPr lang="en-US" sz="2000" b="1" u="sng" dirty="0">
                <a:solidFill>
                  <a:srgbClr val="000000"/>
                </a:solidFill>
                <a:latin typeface="Prompt"/>
                <a:ea typeface="Canva Sans Bold"/>
                <a:cs typeface="Canva Sans Bold"/>
                <a:sym typeface="Canva Sans Bold"/>
              </a:rPr>
              <a:t>one hour of live instruction</a:t>
            </a:r>
            <a:r>
              <a:rPr lang="en-US" sz="2000" dirty="0">
                <a:solidFill>
                  <a:srgbClr val="000000"/>
                </a:solidFill>
                <a:latin typeface="Prompt"/>
                <a:ea typeface="Canva Sans"/>
                <a:cs typeface="Canva Sans"/>
                <a:sym typeface="Canva Sans"/>
              </a:rPr>
              <a:t> each week, </a:t>
            </a:r>
            <a:r>
              <a:rPr lang="en-US" sz="2000" b="1" u="sng" dirty="0">
                <a:solidFill>
                  <a:srgbClr val="000000"/>
                </a:solidFill>
                <a:latin typeface="Prompt"/>
                <a:ea typeface="Canva Sans"/>
                <a:cs typeface="Canva Sans"/>
                <a:sym typeface="Canva Sans"/>
              </a:rPr>
              <a:t>is designed to help healthcare providers better </a:t>
            </a:r>
            <a:r>
              <a:rPr lang="en-US" sz="2000" b="1" u="sng" dirty="0">
                <a:solidFill>
                  <a:srgbClr val="000000"/>
                </a:solidFill>
                <a:latin typeface="Prompt"/>
                <a:ea typeface="Canva Sans Bold"/>
                <a:cs typeface="Canva Sans Bold"/>
                <a:sym typeface="Canva Sans Bold"/>
              </a:rPr>
              <a:t>integrate patient family partners </a:t>
            </a:r>
            <a:r>
              <a:rPr lang="en-US" sz="2000" dirty="0">
                <a:solidFill>
                  <a:srgbClr val="000000"/>
                </a:solidFill>
                <a:latin typeface="Prompt"/>
                <a:ea typeface="Canva Sans"/>
                <a:cs typeface="Canva Sans"/>
                <a:sym typeface="Canva Sans"/>
              </a:rPr>
              <a:t>into their work to improve maternal care.</a:t>
            </a:r>
            <a:endParaRPr lang="en-US" sz="2000" dirty="0">
              <a:solidFill>
                <a:srgbClr val="000000"/>
              </a:solidFill>
              <a:latin typeface="Prompt"/>
              <a:ea typeface="Canva Sans"/>
              <a:cs typeface="Canva Sans"/>
            </a:endParaRPr>
          </a:p>
          <a:p>
            <a:pPr algn="l">
              <a:lnSpc>
                <a:spcPts val="3173"/>
              </a:lnSpc>
              <a:spcBef>
                <a:spcPct val="0"/>
              </a:spcBef>
            </a:pPr>
            <a:endParaRPr lang="en-US" sz="2000" dirty="0">
              <a:solidFill>
                <a:srgbClr val="000000"/>
              </a:solidFill>
              <a:latin typeface="Prompt"/>
              <a:ea typeface="Canva Sans"/>
              <a:cs typeface="Canva Sans"/>
            </a:endParaRP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C67B1A20-5A4C-626B-893C-6740A871079D}"/>
              </a:ext>
            </a:extLst>
          </p:cNvPr>
          <p:cNvSpPr txBox="1"/>
          <p:nvPr/>
        </p:nvSpPr>
        <p:spPr>
          <a:xfrm>
            <a:off x="183919" y="5145919"/>
            <a:ext cx="4375585" cy="3949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173"/>
              </a:lnSpc>
              <a:spcBef>
                <a:spcPct val="0"/>
              </a:spcBef>
            </a:pPr>
            <a:r>
              <a:rPr lang="en-US" sz="2266" b="1" dirty="0">
                <a:solidFill>
                  <a:srgbClr val="FFFEFE"/>
                </a:solidFill>
                <a:latin typeface="Prompt" pitchFamily="2" charset="-34"/>
                <a:ea typeface="Canva Sans Bold"/>
                <a:cs typeface="Prompt" pitchFamily="2" charset="-34"/>
                <a:sym typeface="Canva Sans Bold"/>
              </a:rPr>
              <a:t>Register </a:t>
            </a:r>
            <a:r>
              <a:rPr lang="en-US" sz="2266" b="1" u="sng" dirty="0">
                <a:solidFill>
                  <a:srgbClr val="FFFEFE"/>
                </a:solidFill>
                <a:latin typeface="Prompt" pitchFamily="2" charset="-34"/>
                <a:ea typeface="Canva Sans Bold"/>
                <a:cs typeface="Prompt" pitchFamily="2" charset="-34"/>
                <a:sym typeface="Canva Sans Bold"/>
                <a:hlinkClick r:id="rId7" tooltip="https://www.mommasvoices.org/col"/>
              </a:rPr>
              <a:t>here  .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6E54524E-010E-66A0-70DB-BC1395740857}"/>
              </a:ext>
            </a:extLst>
          </p:cNvPr>
          <p:cNvSpPr txBox="1"/>
          <p:nvPr/>
        </p:nvSpPr>
        <p:spPr>
          <a:xfrm>
            <a:off x="156597" y="5824518"/>
            <a:ext cx="6555808" cy="5751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  <a:spcBef>
                <a:spcPct val="0"/>
              </a:spcBef>
            </a:pPr>
            <a:r>
              <a:rPr lang="en-US" sz="1300" b="1" i="1" dirty="0">
                <a:solidFill>
                  <a:srgbClr val="000000"/>
                </a:solidFill>
                <a:latin typeface="Prompt"/>
                <a:ea typeface="Canva Sans"/>
                <a:cs typeface="Canva Sans"/>
                <a:sym typeface="Canva Sans"/>
              </a:rPr>
              <a:t>ILPQC highly recommends that each hospital send a representative to attend to learn how to better engage a parent partner</a:t>
            </a:r>
            <a:endParaRPr lang="en-US" sz="1300" b="1" i="1" dirty="0">
              <a:solidFill>
                <a:srgbClr val="000000"/>
              </a:solidFill>
              <a:latin typeface="Prompt"/>
              <a:ea typeface="Canva Sans"/>
              <a:cs typeface="Canva Sans"/>
            </a:endParaRPr>
          </a:p>
        </p:txBody>
      </p:sp>
    </p:spTree>
    <p:extLst>
      <p:ext uri="{BB962C8B-B14F-4D97-AF65-F5344CB8AC3E}">
        <p14:creationId xmlns:p14="http://schemas.microsoft.com/office/powerpoint/2010/main" val="133489126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D3F6-4276-9857-871F-5D56FB426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610D5-0922-E3FB-2E32-5E2628A0D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738936"/>
            <a:ext cx="10972800" cy="1325563"/>
          </a:xfrm>
        </p:spPr>
        <p:txBody>
          <a:bodyPr/>
          <a:lstStyle/>
          <a:p>
            <a:r>
              <a:rPr lang="en-US">
                <a:solidFill>
                  <a:srgbClr val="F37150"/>
                </a:solidFill>
                <a:ea typeface="Lato Medium"/>
                <a:cs typeface="Lato Medium"/>
              </a:rPr>
              <a:t>Upcoming ESSI Calls</a:t>
            </a:r>
            <a:endParaRPr lang="en-US">
              <a:solidFill>
                <a:srgbClr val="F37150"/>
              </a:solidFill>
            </a:endParaRP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349F207-60F4-234D-4729-00A6824BBB2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502268"/>
              </p:ext>
            </p:extLst>
          </p:nvPr>
        </p:nvGraphicFramePr>
        <p:xfrm>
          <a:off x="621205" y="2140887"/>
          <a:ext cx="10972800" cy="28422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0">
                  <a:extLst>
                    <a:ext uri="{9D8B030D-6E8A-4147-A177-3AD203B41FA5}">
                      <a16:colId xmlns:a16="http://schemas.microsoft.com/office/drawing/2014/main" val="2818186165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1021936841"/>
                    </a:ext>
                  </a:extLst>
                </a:gridCol>
              </a:tblGrid>
              <a:tr h="952500">
                <a:tc>
                  <a:txBody>
                    <a:bodyPr/>
                    <a:lstStyle/>
                    <a:p>
                      <a:pPr algn="ctr"/>
                      <a:r>
                        <a:rPr lang="en-US" sz="2800"/>
                        <a:t>Date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/>
                        <a:t>Topic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940731"/>
                  </a:ext>
                </a:extLst>
              </a:tr>
              <a:tr h="79872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March 17th, 2025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ransfer of Care to Community Provide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4064444"/>
                  </a:ext>
                </a:extLst>
              </a:tr>
              <a:tr h="86198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April 21st, 2025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ESSI Bundle and Pulling it Togeth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6935563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4628E-DEC7-C9E6-9EF3-F80B5E996A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5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331585-888F-0107-E78B-CD3615B17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176346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9DE373-B867-CA99-434C-8D6E0DCFBF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35D6EC1F-52BB-3267-F8E1-00C19602A77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5042" y="2755225"/>
            <a:ext cx="2256152" cy="219520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95016C-0314-E283-7626-60E023B8A1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Google Shape;368;p16">
            <a:extLst>
              <a:ext uri="{FF2B5EF4-FFF2-40B4-BE49-F238E27FC236}">
                <a16:creationId xmlns:a16="http://schemas.microsoft.com/office/drawing/2014/main" id="{8AE6EF2C-31EB-0B79-212A-F4A007ED2DA5}"/>
              </a:ext>
            </a:extLst>
          </p:cNvPr>
          <p:cNvSpPr txBox="1">
            <a:spLocks/>
          </p:cNvSpPr>
          <p:nvPr/>
        </p:nvSpPr>
        <p:spPr>
          <a:xfrm>
            <a:off x="6382875" y="1538206"/>
            <a:ext cx="5531911" cy="486156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342900" marR="0" lvl="0" indent="-34290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Each ILPQC hospital can send 1 bedside nurse to each day of event.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Opportunity to introduce NEW nurses to ILPQC and QI.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Discounted registration &amp; 1-night hotel stay provided.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More details to come. 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Lato Medium"/>
              <a:cs typeface="Lato Medium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7DB905C-EF3F-5BF5-8A5A-B4649A536D12}"/>
              </a:ext>
            </a:extLst>
          </p:cNvPr>
          <p:cNvSpPr txBox="1">
            <a:spLocks/>
          </p:cNvSpPr>
          <p:nvPr/>
        </p:nvSpPr>
        <p:spPr>
          <a:xfrm>
            <a:off x="333704" y="-22473"/>
            <a:ext cx="5422053" cy="1956841"/>
          </a:xfrm>
          <a:prstGeom prst="rect">
            <a:avLst/>
          </a:prstGeom>
        </p:spPr>
        <p:txBody>
          <a:bodyPr lIns="91440" tIns="45720" rIns="91440" bIns="45720" anchor="b">
            <a:normAutofit fontScale="9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ILPQC/DHS Bedside Nurse Scholarship Opportunity </a:t>
            </a: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Coming Soon! </a:t>
            </a:r>
            <a:endParaRPr kumimoji="0" lang="en-US" sz="4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7B3FBF-BF1A-4ED3-8CA5-41DBB6CB0AB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08687" y="4504788"/>
            <a:ext cx="2953408" cy="247518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849568C-DAEF-1DEE-6C09-2611324B365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5417" y="3382256"/>
            <a:ext cx="2953408" cy="342900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7F6AC8D-2931-4A3E-5B63-5AAEBD7F4C8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57754" y="1423726"/>
            <a:ext cx="2036434" cy="241920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D065EB-88E5-AC71-CB20-B51D255C6E1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8606" y="1919268"/>
            <a:ext cx="2192935" cy="238375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14391A-7664-738F-3269-C13032BE2EF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43204" y="3433192"/>
            <a:ext cx="1975652" cy="292315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F061182-AC3B-561E-54D9-C2DCC727918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23524" y="1829486"/>
            <a:ext cx="1644984" cy="241920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6EBA12-97BE-D893-77B8-442D5137839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8008" y="4035371"/>
            <a:ext cx="1744206" cy="238307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1851710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C30E72-FE19-90E8-137C-77BF2B0ADC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13B2D01-978B-F489-F815-0C8A1D7BFF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1DCC5E-FF90-FEF3-9AE8-FC69F6823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pic>
        <p:nvPicPr>
          <p:cNvPr id="7" name="Picture 6" descr="Woman holding a small baby">
            <a:extLst>
              <a:ext uri="{FF2B5EF4-FFF2-40B4-BE49-F238E27FC236}">
                <a16:creationId xmlns:a16="http://schemas.microsoft.com/office/drawing/2014/main" id="{BBCBD9B5-292A-DBA3-14FE-3558C44A20A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349260" y="2291256"/>
            <a:ext cx="3234531" cy="17291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" name="Google Shape;368;p16">
            <a:extLst>
              <a:ext uri="{FF2B5EF4-FFF2-40B4-BE49-F238E27FC236}">
                <a16:creationId xmlns:a16="http://schemas.microsoft.com/office/drawing/2014/main" id="{3747E494-009B-6631-9342-20812E57F1AC}"/>
              </a:ext>
            </a:extLst>
          </p:cNvPr>
          <p:cNvSpPr txBox="1">
            <a:spLocks/>
          </p:cNvSpPr>
          <p:nvPr/>
        </p:nvSpPr>
        <p:spPr>
          <a:xfrm>
            <a:off x="5858948" y="1489563"/>
            <a:ext cx="6111378" cy="486156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All ILPQC Patient Partners working with an ILPQC hospital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are </a:t>
            </a: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invited to attend.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Lato Medium"/>
              <a:cs typeface="Lato Medium"/>
            </a:endParaRPr>
          </a:p>
          <a:p>
            <a:pPr marL="342900" marR="0" lvl="0" indent="-34290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FREE Registration and 1-night Hotel stay will be provided.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More details to come. 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Lato Medium"/>
              <a:cs typeface="Lato Medium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ED241E7-F764-002A-1EE3-8910613EB866}"/>
              </a:ext>
            </a:extLst>
          </p:cNvPr>
          <p:cNvSpPr txBox="1">
            <a:spLocks/>
          </p:cNvSpPr>
          <p:nvPr/>
        </p:nvSpPr>
        <p:spPr>
          <a:xfrm>
            <a:off x="436895" y="136525"/>
            <a:ext cx="6720650" cy="1956841"/>
          </a:xfrm>
          <a:prstGeom prst="rect">
            <a:avLst/>
          </a:prstGeom>
        </p:spPr>
        <p:txBody>
          <a:bodyPr lIns="91440" tIns="45720" rIns="91440" bIns="4572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ILPQC Patient Partner Opportunity, 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58366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in partnership with DHS </a:t>
            </a:r>
            <a:endParaRPr kumimoji="0" lang="en-US" sz="2700" b="1" i="0" u="none" strike="noStrike" kern="1200" cap="none" spc="0" normalizeH="0" baseline="0" noProof="0" dirty="0">
              <a:ln>
                <a:noFill/>
              </a:ln>
              <a:solidFill>
                <a:srgbClr val="F58366"/>
              </a:solidFill>
              <a:effectLst/>
              <a:uLnTx/>
              <a:uFillTx/>
              <a:latin typeface="Calibri" panose="020F0502020204030204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Coming Soon! </a:t>
            </a:r>
            <a:endParaRPr kumimoji="0" lang="en-US" sz="4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  <p:pic>
        <p:nvPicPr>
          <p:cNvPr id="4" name="Picture 3" descr="People playing with happy baby">
            <a:extLst>
              <a:ext uri="{FF2B5EF4-FFF2-40B4-BE49-F238E27FC236}">
                <a16:creationId xmlns:a16="http://schemas.microsoft.com/office/drawing/2014/main" id="{518B2818-BCAE-8F60-74DF-4D301400C0F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850" y="4038503"/>
            <a:ext cx="3493698" cy="23178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2529904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6CD322-3478-B4BC-271B-3555E296F2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1FD61A4-8929-39D9-0D42-E6286CC4A1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BE574A-F090-7E82-D66A-B034F3CFD5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25369"/>
            <a:ext cx="5375016" cy="1956841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4200" dirty="0">
                <a:ea typeface="Lato Medium"/>
                <a:cs typeface="Lato Medium"/>
              </a:rPr>
              <a:t>2025 Face-to-Face</a:t>
            </a:r>
            <a:br>
              <a:rPr lang="en-US" sz="4200" dirty="0">
                <a:solidFill>
                  <a:schemeClr val="tx1"/>
                </a:solidFill>
                <a:ea typeface="Lato Medium"/>
                <a:cs typeface="Lato Medium"/>
              </a:rPr>
            </a:br>
            <a:r>
              <a:rPr lang="en-US" sz="4200" dirty="0">
                <a:solidFill>
                  <a:schemeClr val="accent3"/>
                </a:solidFill>
                <a:ea typeface="Lato Medium"/>
                <a:cs typeface="Lato Medium"/>
              </a:rPr>
              <a:t>Planning Committee Volunteers </a:t>
            </a:r>
          </a:p>
        </p:txBody>
      </p:sp>
      <p:sp>
        <p:nvSpPr>
          <p:cNvPr id="15" name="sketchy line">
            <a:extLst>
              <a:ext uri="{FF2B5EF4-FFF2-40B4-BE49-F238E27FC236}">
                <a16:creationId xmlns:a16="http://schemas.microsoft.com/office/drawing/2014/main" id="{0B0F60A9-F42F-5A05-83D5-5B7FFCC9AE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84B9061-CD4C-0B38-08F9-E07BC092F4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7560" y="2872899"/>
            <a:ext cx="4316110" cy="3775424"/>
          </a:xfrm>
        </p:spPr>
        <p:txBody>
          <a:bodyPr vert="horz" lIns="91440" tIns="45720" rIns="91440" bIns="45720" rtlCol="0" anchor="t">
            <a:normAutofit fontScale="85000" lnSpcReduction="20000"/>
          </a:bodyPr>
          <a:lstStyle/>
          <a:p>
            <a:r>
              <a:rPr lang="en-US" sz="2600" b="1" dirty="0">
                <a:solidFill>
                  <a:schemeClr val="bg1"/>
                </a:solidFill>
                <a:ea typeface="Lato"/>
                <a:cs typeface="Lato"/>
              </a:rPr>
              <a:t>Great opportunity to collaborate, contribute ideas, and help shape a meaningful event. </a:t>
            </a:r>
          </a:p>
          <a:p>
            <a:r>
              <a:rPr lang="en-US" sz="2800" b="1" dirty="0">
                <a:solidFill>
                  <a:schemeClr val="bg1"/>
                </a:solidFill>
                <a:ea typeface="Lato"/>
                <a:cs typeface="Lato"/>
              </a:rPr>
              <a:t>Whether you’ve been involved before or this is your first time, </a:t>
            </a:r>
            <a:r>
              <a:rPr lang="en-US" sz="2800" b="1" i="1" dirty="0">
                <a:solidFill>
                  <a:schemeClr val="bg1"/>
                </a:solidFill>
                <a:ea typeface="Lato"/>
                <a:cs typeface="Lato"/>
              </a:rPr>
              <a:t>we’d love to welcome new voices and fresh perspectives to the committee.</a:t>
            </a:r>
            <a:r>
              <a:rPr lang="en-US" sz="2800" b="1" dirty="0">
                <a:solidFill>
                  <a:schemeClr val="bg1"/>
                </a:solidFill>
                <a:ea typeface="Lato"/>
                <a:cs typeface="Lato"/>
              </a:rPr>
              <a:t> </a:t>
            </a:r>
          </a:p>
          <a:p>
            <a:r>
              <a:rPr lang="en-US" sz="2800" b="1" dirty="0">
                <a:ea typeface="Lato"/>
                <a:cs typeface="Lato"/>
              </a:rPr>
              <a:t>Interested? Email </a:t>
            </a:r>
            <a:r>
              <a:rPr lang="en-US" sz="2800" b="1" dirty="0">
                <a:solidFill>
                  <a:schemeClr val="accent1"/>
                </a:solidFill>
                <a:ea typeface="Lato"/>
                <a:cs typeface="Lat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ilpqc.or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CFF205-E331-6378-51A6-8F7E1096EE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39400" y="6356350"/>
            <a:ext cx="914400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3B46F6E-5A0D-9131-BE5C-D7281063D1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3749" y="4337045"/>
            <a:ext cx="6668251" cy="2520955"/>
          </a:xfrm>
          <a:prstGeom prst="rect">
            <a:avLst/>
          </a:prstGeom>
        </p:spPr>
      </p:pic>
      <p:sp>
        <p:nvSpPr>
          <p:cNvPr id="18" name="Freeform 6">
            <a:extLst>
              <a:ext uri="{FF2B5EF4-FFF2-40B4-BE49-F238E27FC236}">
                <a16:creationId xmlns:a16="http://schemas.microsoft.com/office/drawing/2014/main" id="{2807FC6F-5F1D-2759-09F8-DF53932A8B5F}"/>
              </a:ext>
            </a:extLst>
          </p:cNvPr>
          <p:cNvSpPr/>
          <p:nvPr/>
        </p:nvSpPr>
        <p:spPr>
          <a:xfrm>
            <a:off x="9558558" y="2455219"/>
            <a:ext cx="2223539" cy="1659321"/>
          </a:xfrm>
          <a:custGeom>
            <a:avLst/>
            <a:gdLst/>
            <a:ahLst/>
            <a:cxnLst/>
            <a:rect l="l" t="t" r="r" b="b"/>
            <a:pathLst>
              <a:path w="5775158" h="4114800">
                <a:moveTo>
                  <a:pt x="0" y="0"/>
                </a:moveTo>
                <a:lnTo>
                  <a:pt x="5775158" y="0"/>
                </a:lnTo>
                <a:lnTo>
                  <a:pt x="5775158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 4">
            <a:extLst>
              <a:ext uri="{FF2B5EF4-FFF2-40B4-BE49-F238E27FC236}">
                <a16:creationId xmlns:a16="http://schemas.microsoft.com/office/drawing/2014/main" id="{DCDCEBDA-756C-927E-A9F2-BBC4E7435132}"/>
              </a:ext>
            </a:extLst>
          </p:cNvPr>
          <p:cNvSpPr/>
          <p:nvPr/>
        </p:nvSpPr>
        <p:spPr>
          <a:xfrm>
            <a:off x="5599674" y="225758"/>
            <a:ext cx="2806144" cy="2045128"/>
          </a:xfrm>
          <a:custGeom>
            <a:avLst/>
            <a:gdLst/>
            <a:ahLst/>
            <a:cxnLst/>
            <a:rect l="l" t="t" r="r" b="b"/>
            <a:pathLst>
              <a:path w="5775158" h="4114800">
                <a:moveTo>
                  <a:pt x="0" y="0"/>
                </a:moveTo>
                <a:lnTo>
                  <a:pt x="5775158" y="0"/>
                </a:lnTo>
                <a:lnTo>
                  <a:pt x="5775158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ABA6EC-ADD8-A9CD-34BE-29ACD708B81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8866" y="3253"/>
            <a:ext cx="2806143" cy="199804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9EEE6BF-5D14-F004-E2E8-5D01D3B9D74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4543" y="2474139"/>
            <a:ext cx="2587044" cy="1843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2374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3B18BD-CFD7-282E-703F-EF20852D8D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D45C663F-FDB4-122C-6271-1ABBFCB4D2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6F7F9B-015F-DE3E-B49C-9435A32DAE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25369"/>
            <a:ext cx="5101847" cy="1956841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2025 Face-to-Face </a:t>
            </a:r>
            <a:r>
              <a:rPr lang="en-US" sz="4200" dirty="0">
                <a:solidFill>
                  <a:schemeClr val="accent3"/>
                </a:solidFill>
                <a:ea typeface="Lato Medium"/>
                <a:cs typeface="Lato Medium"/>
              </a:rPr>
              <a:t>ILPQC Partner </a:t>
            </a:r>
            <a:br>
              <a:rPr lang="en-US" sz="4200" dirty="0">
                <a:solidFill>
                  <a:schemeClr val="accent3"/>
                </a:solidFill>
                <a:ea typeface="Lato Medium"/>
                <a:cs typeface="Lato Medium"/>
              </a:rPr>
            </a:br>
            <a:r>
              <a:rPr lang="en-US" sz="4200" dirty="0">
                <a:solidFill>
                  <a:schemeClr val="accent3"/>
                </a:solidFill>
                <a:ea typeface="Lato Medium"/>
                <a:cs typeface="Lato Medium"/>
              </a:rPr>
              <a:t>Tables</a:t>
            </a:r>
          </a:p>
        </p:txBody>
      </p:sp>
      <p:sp>
        <p:nvSpPr>
          <p:cNvPr id="15" name="sketchy line">
            <a:extLst>
              <a:ext uri="{FF2B5EF4-FFF2-40B4-BE49-F238E27FC236}">
                <a16:creationId xmlns:a16="http://schemas.microsoft.com/office/drawing/2014/main" id="{B76126A4-F8D7-F4F8-20A6-4AE503DB72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2ED4445-A398-0686-E2F9-2CB14DFDD0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872899"/>
            <a:ext cx="4243589" cy="3320668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r>
              <a:rPr lang="en-US" b="1" dirty="0">
                <a:solidFill>
                  <a:schemeClr val="bg1"/>
                </a:solidFill>
                <a:ea typeface="Lato"/>
                <a:cs typeface="Lato"/>
              </a:rPr>
              <a:t>Want to share your organization's resources with the ILPQC teams?</a:t>
            </a:r>
          </a:p>
          <a:p>
            <a:r>
              <a:rPr lang="en-US" b="1" dirty="0">
                <a:solidFill>
                  <a:schemeClr val="bg1"/>
                </a:solidFill>
                <a:ea typeface="Lato"/>
                <a:cs typeface="Lato"/>
              </a:rPr>
              <a:t>Want to engage directly with attendees, foster relationships and collaborate with attendees?</a:t>
            </a:r>
          </a:p>
          <a:p>
            <a:r>
              <a:rPr lang="en-US" sz="2800" b="1" dirty="0">
                <a:solidFill>
                  <a:schemeClr val="accent1"/>
                </a:solidFill>
                <a:ea typeface="Lato"/>
                <a:cs typeface="Lato"/>
              </a:rPr>
              <a:t>Interested? </a:t>
            </a:r>
            <a:r>
              <a:rPr lang="en-US" sz="2800" b="1" dirty="0">
                <a:ea typeface="Lato"/>
                <a:cs typeface="Lato"/>
              </a:rPr>
              <a:t>Email </a:t>
            </a:r>
            <a:r>
              <a:rPr lang="en-US" sz="2800" b="1" dirty="0">
                <a:solidFill>
                  <a:schemeClr val="accent1"/>
                </a:solidFill>
                <a:ea typeface="Lato"/>
                <a:cs typeface="Lat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ilpqc.or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145F2B-A89D-7B96-BA28-2002A8FDDC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39400" y="6356350"/>
            <a:ext cx="914400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F5506478-2CC0-AC8F-2096-05CE575A656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23749" y="0"/>
            <a:ext cx="6668251" cy="4667014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D620C31-E02D-4C6E-4787-92B8456DEC5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3749" y="4337045"/>
            <a:ext cx="6668251" cy="2520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373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setVTI">
  <a:themeElements>
    <a:clrScheme name="Office">
      <a:dk1>
        <a:srgbClr val="000000"/>
      </a:dk1>
      <a:lt1>
        <a:srgbClr val="FFFFFF"/>
      </a:lt1>
      <a:dk2>
        <a:srgbClr val="57495C"/>
      </a:dk2>
      <a:lt2>
        <a:srgbClr val="E7E6E6"/>
      </a:lt2>
      <a:accent1>
        <a:srgbClr val="F07C98"/>
      </a:accent1>
      <a:accent2>
        <a:srgbClr val="A6778D"/>
      </a:accent2>
      <a:accent3>
        <a:srgbClr val="768BA6"/>
      </a:accent3>
      <a:accent4>
        <a:srgbClr val="E8908B"/>
      </a:accent4>
      <a:accent5>
        <a:srgbClr val="C47A93"/>
      </a:accent5>
      <a:accent6>
        <a:srgbClr val="70A8DB"/>
      </a:accent6>
      <a:hlink>
        <a:srgbClr val="EB8067"/>
      </a:hlink>
      <a:folHlink>
        <a:srgbClr val="7BC7C0"/>
      </a:folHlink>
    </a:clrScheme>
    <a:fontScheme name="Dante">
      <a:majorFont>
        <a:latin typeface="Univers Light"/>
        <a:ea typeface=""/>
        <a:cs typeface=""/>
      </a:majorFont>
      <a:minorFont>
        <a:latin typeface="Univer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setVTI" id="{17A3166B-76FF-4669-8F6D-D4251AE158D8}" vid="{4532814A-B5F8-4CFD-BC69-A007D492DA47}"/>
    </a:ext>
  </a:extLst>
</a:theme>
</file>

<file path=ppt/theme/theme5.xml><?xml version="1.0" encoding="utf-8"?>
<a:theme xmlns:a="http://schemas.openxmlformats.org/drawingml/2006/main" name="Sinai Chicago 12.18.20">
  <a:themeElements>
    <a:clrScheme name="Sinai Chicago 202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5769B1"/>
      </a:accent1>
      <a:accent2>
        <a:srgbClr val="3B5091"/>
      </a:accent2>
      <a:accent3>
        <a:srgbClr val="AAB3BC"/>
      </a:accent3>
      <a:accent4>
        <a:srgbClr val="333333"/>
      </a:accent4>
      <a:accent5>
        <a:srgbClr val="DF5D5D"/>
      </a:accent5>
      <a:accent6>
        <a:srgbClr val="EBEBEB"/>
      </a:accent6>
      <a:hlink>
        <a:srgbClr val="3B5091"/>
      </a:hlink>
      <a:folHlink>
        <a:srgbClr val="C050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nai Chicago 12.18.20" id="{E1F85CFA-CFDA-451E-8489-474163BF8746}" vid="{C798D800-3B58-4A10-BBF5-29B340FCE36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0e6e514-d900-4268-895b-c4602e757f8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092A4705BA2B4F932736A1725E6E61" ma:contentTypeVersion="18" ma:contentTypeDescription="Create a new document." ma:contentTypeScope="" ma:versionID="ebbee26ce1a92ae93adb5cb49ccaf48a">
  <xsd:schema xmlns:xsd="http://www.w3.org/2001/XMLSchema" xmlns:xs="http://www.w3.org/2001/XMLSchema" xmlns:p="http://schemas.microsoft.com/office/2006/metadata/properties" xmlns:ns3="40e6e514-d900-4268-895b-c4602e757f8e" xmlns:ns4="141bf384-ae1f-47bb-b28c-d3a08b6696de" targetNamespace="http://schemas.microsoft.com/office/2006/metadata/properties" ma:root="true" ma:fieldsID="1bf1e38b677dacbda683198b4001957d" ns3:_="" ns4:_="">
    <xsd:import namespace="40e6e514-d900-4268-895b-c4602e757f8e"/>
    <xsd:import namespace="141bf384-ae1f-47bb-b28c-d3a08b6696d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LengthInSecond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_activity" minOccurs="0"/>
                <xsd:element ref="ns3:MediaServiceObjectDetectorVersions" minOccurs="0"/>
                <xsd:element ref="ns3:MediaServiceSearchProperties" minOccurs="0"/>
                <xsd:element ref="ns3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e6e514-d900-4268-895b-c4602e757f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SystemTags" ma:index="25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1bf384-ae1f-47bb-b28c-d3a08b6696d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C10078C-AFB1-479D-9CD7-6C46A808DC56}">
  <ds:schemaRefs>
    <ds:schemaRef ds:uri="141bf384-ae1f-47bb-b28c-d3a08b6696de"/>
    <ds:schemaRef ds:uri="40e6e514-d900-4268-895b-c4602e757f8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5C2EB5D-AC92-4CD2-903B-12FF96984C90}">
  <ds:schemaRefs>
    <ds:schemaRef ds:uri="141bf384-ae1f-47bb-b28c-d3a08b6696de"/>
    <ds:schemaRef ds:uri="40e6e514-d900-4268-895b-c4602e757f8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81040FC-5242-4252-831A-13DB1F91870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1</TotalTime>
  <Words>2493</Words>
  <Application>Microsoft Office PowerPoint</Application>
  <PresentationFormat>Widescreen</PresentationFormat>
  <Paragraphs>345</Paragraphs>
  <Slides>53</Slides>
  <Notes>25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53</vt:i4>
      </vt:variant>
    </vt:vector>
  </HeadingPairs>
  <TitlesOfParts>
    <vt:vector size="58" baseType="lpstr">
      <vt:lpstr>1_Office Theme</vt:lpstr>
      <vt:lpstr>Office Theme</vt:lpstr>
      <vt:lpstr>3_Office Theme</vt:lpstr>
      <vt:lpstr>OffsetVTI</vt:lpstr>
      <vt:lpstr>Sinai Chicago 12.18.20</vt:lpstr>
      <vt:lpstr>Equity and Safe Sleep for Infants  Building Relationships with Community Organizations</vt:lpstr>
      <vt:lpstr>Overview</vt:lpstr>
      <vt:lpstr>Attendance Poll</vt:lpstr>
      <vt:lpstr>Face-to-Face Conference</vt:lpstr>
      <vt:lpstr>Registration and Hotel Block Opening 2/28</vt:lpstr>
      <vt:lpstr>PowerPoint Presentation</vt:lpstr>
      <vt:lpstr>PowerPoint Presentation</vt:lpstr>
      <vt:lpstr>2025 Face-to-Face Planning Committee Volunteers </vt:lpstr>
      <vt:lpstr>2025 Face-to-Face ILPQC Partner  Tables</vt:lpstr>
      <vt:lpstr>ESSI “On the Path to QI Excellence”</vt:lpstr>
      <vt:lpstr>PowerPoint Presentation</vt:lpstr>
      <vt:lpstr>PowerPoint Presentation</vt:lpstr>
      <vt:lpstr>PowerPoint Presentation</vt:lpstr>
      <vt:lpstr>ESSI Initiative Aims and Progress Overview</vt:lpstr>
      <vt:lpstr>ESSI Initiative Aims</vt:lpstr>
      <vt:lpstr>Key Driver Diagra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SSI Bundle Completion Percent of charts audited that have a documented ESSI Bundle</vt:lpstr>
      <vt:lpstr>Parents or caregivers reporting an understanding of safe sleep​ Percentage of charts audited where a parent or caregiver reports an understanding of safe sleep​</vt:lpstr>
      <vt:lpstr>Documentation of a conversation with parents or caregivers about adjustment to life with a newborn and safe sleep, and resources shared Percentage of charts audited where there is documentation of a conversation about adjustment to life with a newborn and safe sleep​</vt:lpstr>
      <vt:lpstr>​ SDOH Screening and Linkage Documentation in Infant’s Chart​​ Percentage of charts audited where there is documentation of SDOH screening and linkage (if positive screen)</vt:lpstr>
      <vt:lpstr>Building Relationships with Community Organizations</vt:lpstr>
      <vt:lpstr>What is a Community-Based Organization (CBO)?</vt:lpstr>
      <vt:lpstr>Your Role in the Community</vt:lpstr>
      <vt:lpstr>The Importance of Hospital-Community Partnerships</vt:lpstr>
      <vt:lpstr>Benefits of Building Relationships with Community-Based Organizations</vt:lpstr>
      <vt:lpstr>PowerPoint Presentation</vt:lpstr>
      <vt:lpstr>Examples of CBO’s:</vt:lpstr>
      <vt:lpstr>Remember November’s To-Do’s? </vt:lpstr>
      <vt:lpstr>To-Do's:</vt:lpstr>
      <vt:lpstr>Community Corner: All about WIC</vt:lpstr>
      <vt:lpstr>Team Talk</vt:lpstr>
      <vt:lpstr>Team Talk : Mount Sinai Hospital</vt:lpstr>
      <vt:lpstr>PowerPoint Presentation</vt:lpstr>
      <vt:lpstr>PowerPoint Presentation</vt:lpstr>
      <vt:lpstr>PowerPoint Presentation</vt:lpstr>
      <vt:lpstr>PowerPoint Presentation</vt:lpstr>
      <vt:lpstr>ESSI Launch &amp; 2024 Successes </vt:lpstr>
      <vt:lpstr>Provider Education</vt:lpstr>
      <vt:lpstr>For the Community</vt:lpstr>
      <vt:lpstr>PowerPoint Presentation</vt:lpstr>
      <vt:lpstr>Patient &amp; Community </vt:lpstr>
      <vt:lpstr>Dr. Charles Lampley (MFM) from Sinai joined WGN (local news) to spread awareness on SUID to community</vt:lpstr>
      <vt:lpstr>ESSI QI Team members</vt:lpstr>
      <vt:lpstr>Announcements</vt:lpstr>
      <vt:lpstr>Coming Soon!*  Safe Sleep Conversations Tip Sheet</vt:lpstr>
      <vt:lpstr>PowerPoint Presentation</vt:lpstr>
      <vt:lpstr>PowerPoint Presentation</vt:lpstr>
      <vt:lpstr>Upcoming ESSI Cal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ileen Fleming Suse</dc:creator>
  <cp:lastModifiedBy>Kiela Karina Moreno</cp:lastModifiedBy>
  <cp:revision>318</cp:revision>
  <dcterms:created xsi:type="dcterms:W3CDTF">2024-01-16T19:17:00Z</dcterms:created>
  <dcterms:modified xsi:type="dcterms:W3CDTF">2025-02-18T01:0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092A4705BA2B4F932736A1725E6E61</vt:lpwstr>
  </property>
</Properties>
</file>